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6" r:id="rId2"/>
  </p:sldMasterIdLst>
  <p:notesMasterIdLst>
    <p:notesMasterId r:id="rId6"/>
  </p:notesMasterIdLst>
  <p:sldIdLst>
    <p:sldId id="2147475479" r:id="rId3"/>
    <p:sldId id="2147475491" r:id="rId4"/>
    <p:sldId id="2147475486" r:id="rId5"/>
  </p:sldIdLst>
  <p:sldSz cx="20104100" cy="11309350"/>
  <p:notesSz cx="20104100" cy="1130935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0B89"/>
    <a:srgbClr val="2A3180"/>
    <a:srgbClr val="9CCA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4BD36C-9D4E-4CD6-BF18-9BB7F48A3135}" v="10" dt="2025-11-20T07:42:22.786"/>
    <p1510:client id="{722100E8-D899-46DB-8E1D-E4618430E760}" v="53" dt="2025-11-19T12:16:38.948"/>
    <p1510:client id="{F669428C-2068-4D29-AB56-FC24F48FF061}" v="20" dt="2025-11-19T14:49:16.933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6247" autoAdjust="0"/>
  </p:normalViewPr>
  <p:slideViewPr>
    <p:cSldViewPr>
      <p:cViewPr varScale="1">
        <p:scale>
          <a:sx n="68" d="100"/>
          <a:sy n="68" d="100"/>
        </p:scale>
        <p:origin x="510" y="66"/>
      </p:cViewPr>
      <p:guideLst>
        <p:guide orient="horz" pos="2880"/>
        <p:guide pos="216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tonio Garcia Marzo" userId="cfb790e2-65c7-48e5-8305-880a72306b48" providerId="ADAL" clId="{600E328B-E1DD-41E6-A1F8-972D2A37BFC4}"/>
    <pc:docChg chg="undo redo custSel modSld">
      <pc:chgData name="Antonio Garcia Marzo" userId="cfb790e2-65c7-48e5-8305-880a72306b48" providerId="ADAL" clId="{600E328B-E1DD-41E6-A1F8-972D2A37BFC4}" dt="2025-11-20T07:42:37.602" v="196" actId="20577"/>
      <pc:docMkLst>
        <pc:docMk/>
      </pc:docMkLst>
      <pc:sldChg chg="modSp mod">
        <pc:chgData name="Antonio Garcia Marzo" userId="cfb790e2-65c7-48e5-8305-880a72306b48" providerId="ADAL" clId="{600E328B-E1DD-41E6-A1F8-972D2A37BFC4}" dt="2025-11-20T07:37:28.228" v="9" actId="20577"/>
        <pc:sldMkLst>
          <pc:docMk/>
          <pc:sldMk cId="1479424541" sldId="2147475479"/>
        </pc:sldMkLst>
        <pc:spChg chg="mod">
          <ac:chgData name="Antonio Garcia Marzo" userId="cfb790e2-65c7-48e5-8305-880a72306b48" providerId="ADAL" clId="{600E328B-E1DD-41E6-A1F8-972D2A37BFC4}" dt="2025-11-20T07:37:28.228" v="9" actId="20577"/>
          <ac:spMkLst>
            <pc:docMk/>
            <pc:sldMk cId="1479424541" sldId="2147475479"/>
            <ac:spMk id="2" creationId="{F0B1D29A-CDC5-16B7-0668-2EA6B27C1D81}"/>
          </ac:spMkLst>
        </pc:spChg>
      </pc:sldChg>
      <pc:sldChg chg="modSp mod">
        <pc:chgData name="Antonio Garcia Marzo" userId="cfb790e2-65c7-48e5-8305-880a72306b48" providerId="ADAL" clId="{600E328B-E1DD-41E6-A1F8-972D2A37BFC4}" dt="2025-11-20T07:42:37.602" v="196" actId="20577"/>
        <pc:sldMkLst>
          <pc:docMk/>
          <pc:sldMk cId="1640754739" sldId="2147475486"/>
        </pc:sldMkLst>
        <pc:spChg chg="mod">
          <ac:chgData name="Antonio Garcia Marzo" userId="cfb790e2-65c7-48e5-8305-880a72306b48" providerId="ADAL" clId="{600E328B-E1DD-41E6-A1F8-972D2A37BFC4}" dt="2025-11-20T07:42:37.602" v="196" actId="20577"/>
          <ac:spMkLst>
            <pc:docMk/>
            <pc:sldMk cId="1640754739" sldId="2147475486"/>
            <ac:spMk id="2" creationId="{F0B1D29A-CDC5-16B7-0668-2EA6B27C1D81}"/>
          </ac:spMkLst>
        </pc:spChg>
      </pc:sldChg>
      <pc:sldChg chg="modSp mod">
        <pc:chgData name="Antonio Garcia Marzo" userId="cfb790e2-65c7-48e5-8305-880a72306b48" providerId="ADAL" clId="{600E328B-E1DD-41E6-A1F8-972D2A37BFC4}" dt="2025-11-20T07:42:27.429" v="189" actId="20577"/>
        <pc:sldMkLst>
          <pc:docMk/>
          <pc:sldMk cId="1268238092" sldId="2147475491"/>
        </pc:sldMkLst>
        <pc:graphicFrameChg chg="mod modGraphic">
          <ac:chgData name="Antonio Garcia Marzo" userId="cfb790e2-65c7-48e5-8305-880a72306b48" providerId="ADAL" clId="{600E328B-E1DD-41E6-A1F8-972D2A37BFC4}" dt="2025-11-20T07:42:27.429" v="189" actId="20577"/>
          <ac:graphicFrameMkLst>
            <pc:docMk/>
            <pc:sldMk cId="1268238092" sldId="2147475491"/>
            <ac:graphicFrameMk id="36" creationId="{5DA26C07-C4CF-6228-6677-0A6D40ECA924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64512D-1F7B-455C-AB83-4C62A29B8E44}" type="datetimeFigureOut">
              <a:rPr lang="tr-TR" smtClean="0"/>
              <a:t>20.11.2025</a:t>
            </a:fld>
            <a:endParaRPr lang="tr-T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4797C6-019F-4AF9-8522-BC8846F53481}" type="slidenum">
              <a:rPr lang="tr-TR" smtClean="0"/>
              <a:t>‹Nº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415567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6E37DF-559C-20E8-74FA-EF47D1DB09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3CF3DD-5D96-7348-B851-A6FF6C6DD1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7C2E87-A560-0965-01EF-B492C3E522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161FDE-2445-A610-1E54-75188CE744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4797C6-019F-4AF9-8522-BC8846F53481}" type="slidenum">
              <a:rPr lang="tr-TR" smtClean="0"/>
              <a:t>1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333733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052E0F-6778-E8CE-B43E-6C3D77861B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821552-573C-DB7F-F3B7-FEF12023E9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801033-A07D-7B09-4EA9-798E275899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033A15-35E8-E07B-4E2B-CC46ED91A0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4797C6-019F-4AF9-8522-BC8846F53481}" type="slidenum">
              <a:rPr lang="tr-TR" smtClean="0"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222971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6E37DF-559C-20E8-74FA-EF47D1DB09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3CF3DD-5D96-7348-B851-A6FF6C6DD1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7C2E87-A560-0965-01EF-B492C3E522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161FDE-2445-A610-1E54-75188CE744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4797C6-019F-4AF9-8522-BC8846F53481}" type="slidenum">
              <a:rPr lang="tr-TR" smtClean="0"/>
              <a:t>3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79735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12.emf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12.emf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12.emf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12.emf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12.emf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12.emf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12.emf"/><Relationship Id="rId5" Type="http://schemas.openxmlformats.org/officeDocument/2006/relationships/image" Target="../media/image15.png"/><Relationship Id="rId4" Type="http://schemas.openxmlformats.org/officeDocument/2006/relationships/image" Target="../media/image1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12.emf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12.emf"/><Relationship Id="rId5" Type="http://schemas.openxmlformats.org/officeDocument/2006/relationships/image" Target="../media/image15.png"/><Relationship Id="rId4" Type="http://schemas.openxmlformats.org/officeDocument/2006/relationships/image" Target="../media/image1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12.emf"/><Relationship Id="rId5" Type="http://schemas.openxmlformats.org/officeDocument/2006/relationships/image" Target="../media/image15.png"/><Relationship Id="rId4" Type="http://schemas.openxmlformats.org/officeDocument/2006/relationships/image" Target="../media/image1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12.emf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12.emf"/><Relationship Id="rId5" Type="http://schemas.openxmlformats.org/officeDocument/2006/relationships/image" Target="../media/image15.png"/><Relationship Id="rId4" Type="http://schemas.openxmlformats.org/officeDocument/2006/relationships/image" Target="../media/image1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12.emf"/><Relationship Id="rId5" Type="http://schemas.openxmlformats.org/officeDocument/2006/relationships/image" Target="../media/image18.png"/><Relationship Id="rId4" Type="http://schemas.openxmlformats.org/officeDocument/2006/relationships/image" Target="../media/image1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3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oleObject" Target="../embeddings/oleObject3.bin"/><Relationship Id="rId7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microsoft.com/office/2007/relationships/hdphoto" Target="../media/hdphoto1.wdp"/><Relationship Id="rId5" Type="http://schemas.openxmlformats.org/officeDocument/2006/relationships/image" Target="../media/image9.png"/><Relationship Id="rId4" Type="http://schemas.openxmlformats.org/officeDocument/2006/relationships/image" Target="../media/image8.emf"/><Relationship Id="rId9" Type="http://schemas.openxmlformats.org/officeDocument/2006/relationships/image" Target="../media/image20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1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9" Type="http://schemas.microsoft.com/office/2007/relationships/hdphoto" Target="../media/hdphoto2.wdp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6" Type="http://schemas.openxmlformats.org/officeDocument/2006/relationships/image" Target="../media/image12.emf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6" Type="http://schemas.openxmlformats.org/officeDocument/2006/relationships/image" Target="../media/image12.emf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6" Type="http://schemas.openxmlformats.org/officeDocument/2006/relationships/image" Target="../media/image12.emf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6" Type="http://schemas.openxmlformats.org/officeDocument/2006/relationships/image" Target="../media/image12.emf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6" Type="http://schemas.openxmlformats.org/officeDocument/2006/relationships/image" Target="../media/image12.emf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6" Type="http://schemas.openxmlformats.org/officeDocument/2006/relationships/image" Target="../media/image12.emf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6" Type="http://schemas.openxmlformats.org/officeDocument/2006/relationships/image" Target="../media/image12.emf"/><Relationship Id="rId5" Type="http://schemas.openxmlformats.org/officeDocument/2006/relationships/image" Target="../media/image14.png"/><Relationship Id="rId4" Type="http://schemas.openxmlformats.org/officeDocument/2006/relationships/image" Target="../media/image1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6" Type="http://schemas.openxmlformats.org/officeDocument/2006/relationships/image" Target="../media/image12.emf"/><Relationship Id="rId5" Type="http://schemas.openxmlformats.org/officeDocument/2006/relationships/image" Target="../media/image15.png"/><Relationship Id="rId4" Type="http://schemas.openxmlformats.org/officeDocument/2006/relationships/image" Target="../media/image1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6" Type="http://schemas.openxmlformats.org/officeDocument/2006/relationships/image" Target="../media/image12.emf"/><Relationship Id="rId5" Type="http://schemas.openxmlformats.org/officeDocument/2006/relationships/image" Target="../media/image17.png"/><Relationship Id="rId4" Type="http://schemas.openxmlformats.org/officeDocument/2006/relationships/image" Target="../media/image1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6" Type="http://schemas.openxmlformats.org/officeDocument/2006/relationships/image" Target="../media/image12.emf"/><Relationship Id="rId5" Type="http://schemas.openxmlformats.org/officeDocument/2006/relationships/image" Target="../media/image15.png"/><Relationship Id="rId4" Type="http://schemas.openxmlformats.org/officeDocument/2006/relationships/image" Target="../media/image1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6" Type="http://schemas.openxmlformats.org/officeDocument/2006/relationships/image" Target="../media/image12.emf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6" Type="http://schemas.openxmlformats.org/officeDocument/2006/relationships/image" Target="../media/image12.emf"/><Relationship Id="rId5" Type="http://schemas.openxmlformats.org/officeDocument/2006/relationships/image" Target="../media/image15.png"/><Relationship Id="rId4" Type="http://schemas.openxmlformats.org/officeDocument/2006/relationships/image" Target="../media/image1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6" Type="http://schemas.openxmlformats.org/officeDocument/2006/relationships/image" Target="../media/image12.emf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6" Type="http://schemas.openxmlformats.org/officeDocument/2006/relationships/image" Target="../media/image12.emf"/><Relationship Id="rId5" Type="http://schemas.openxmlformats.org/officeDocument/2006/relationships/image" Target="../media/image15.png"/><Relationship Id="rId4" Type="http://schemas.openxmlformats.org/officeDocument/2006/relationships/image" Target="../media/image1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6" Type="http://schemas.openxmlformats.org/officeDocument/2006/relationships/image" Target="../media/image12.emf"/><Relationship Id="rId5" Type="http://schemas.openxmlformats.org/officeDocument/2006/relationships/image" Target="../media/image18.png"/><Relationship Id="rId4" Type="http://schemas.openxmlformats.org/officeDocument/2006/relationships/image" Target="../media/image8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6" Type="http://schemas.openxmlformats.org/officeDocument/2006/relationships/image" Target="../media/image12.emf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Relationship Id="rId9" Type="http://schemas.microsoft.com/office/2007/relationships/hdphoto" Target="../media/hdphoto2.wdp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6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oleObject" Target="../embeddings/oleObject3.bin"/><Relationship Id="rId7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6" Type="http://schemas.microsoft.com/office/2007/relationships/hdphoto" Target="../media/hdphoto1.wdp"/><Relationship Id="rId5" Type="http://schemas.openxmlformats.org/officeDocument/2006/relationships/image" Target="../media/image9.png"/><Relationship Id="rId4" Type="http://schemas.openxmlformats.org/officeDocument/2006/relationships/image" Target="../media/image8.emf"/><Relationship Id="rId9" Type="http://schemas.openxmlformats.org/officeDocument/2006/relationships/image" Target="../media/image20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4" Type="http://schemas.openxmlformats.org/officeDocument/2006/relationships/image" Target="../media/image1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Relationship Id="rId5" Type="http://schemas.openxmlformats.org/officeDocument/2006/relationships/image" Target="../media/image12.emf"/><Relationship Id="rId4" Type="http://schemas.openxmlformats.org/officeDocument/2006/relationships/image" Target="../media/image7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5" Type="http://schemas.openxmlformats.org/officeDocument/2006/relationships/image" Target="../media/image12.emf"/><Relationship Id="rId4" Type="http://schemas.openxmlformats.org/officeDocument/2006/relationships/image" Target="../media/image7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6" Type="http://schemas.openxmlformats.org/officeDocument/2006/relationships/image" Target="../media/image12.emf"/><Relationship Id="rId5" Type="http://schemas.openxmlformats.org/officeDocument/2006/relationships/image" Target="../media/image13.png"/><Relationship Id="rId4" Type="http://schemas.openxmlformats.org/officeDocument/2006/relationships/image" Target="../media/image7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5" Type="http://schemas.openxmlformats.org/officeDocument/2006/relationships/image" Target="../media/image12.emf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5" Type="http://schemas.openxmlformats.org/officeDocument/2006/relationships/image" Target="../media/image12.emf"/><Relationship Id="rId4" Type="http://schemas.openxmlformats.org/officeDocument/2006/relationships/image" Target="../media/image7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6" Type="http://schemas.openxmlformats.org/officeDocument/2006/relationships/image" Target="../media/image12.emf"/><Relationship Id="rId5" Type="http://schemas.openxmlformats.org/officeDocument/2006/relationships/image" Target="../media/image13.png"/><Relationship Id="rId4" Type="http://schemas.openxmlformats.org/officeDocument/2006/relationships/image" Target="../media/image7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6" Type="http://schemas.openxmlformats.org/officeDocument/2006/relationships/image" Target="../media/image12.emf"/><Relationship Id="rId5" Type="http://schemas.openxmlformats.org/officeDocument/2006/relationships/image" Target="../media/image14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898"/>
            <a:ext cx="17088486" cy="2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200" b="1" i="0">
                <a:solidFill>
                  <a:srgbClr val="2B3180"/>
                </a:solidFill>
                <a:latin typeface="Titillium"/>
                <a:cs typeface="Titilliu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6"/>
            <a:ext cx="14072870" cy="28273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0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249858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118487" y="4399797"/>
            <a:ext cx="15863789" cy="5278729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1507846" rtl="0" eaLnBrk="1" fontAlgn="auto" latinLnBrk="0" hangingPunct="1">
              <a:lnSpc>
                <a:spcPts val="9894"/>
              </a:lnSpc>
              <a:spcBef>
                <a:spcPts val="0"/>
              </a:spcBef>
              <a:spcAft>
                <a:spcPts val="0"/>
              </a:spcAft>
              <a:defRPr lang="en-US" sz="8905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2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2118487" y="2355094"/>
            <a:ext cx="1562672" cy="1562781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DE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97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30053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38844" y="6310677"/>
            <a:ext cx="18034328" cy="3366090"/>
          </a:xfrm>
        </p:spPr>
        <p:txBody>
          <a:bodyPr anchor="t">
            <a:noAutofit/>
          </a:bodyPr>
          <a:lstStyle>
            <a:lvl1pPr>
              <a:defRPr sz="8905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1020537" y="6068619"/>
            <a:ext cx="19088843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93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1374262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03006" y="0"/>
            <a:ext cx="687535" cy="1130935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25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6726939" cy="113093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de-DE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1038845" y="4421338"/>
            <a:ext cx="5157745" cy="246667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5277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421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042704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11815786" y="0"/>
            <a:ext cx="687535" cy="1130935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11826257" cy="113093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de-DE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20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1038844" y="1027043"/>
            <a:ext cx="10317203" cy="77654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7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de-DE" dirty="0"/>
              <a:t>Click to add 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260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0597576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53439" y="0"/>
            <a:ext cx="687535" cy="1130935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1038845" y="4421338"/>
            <a:ext cx="5157745" cy="246667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5277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6729009" y="-2158"/>
            <a:ext cx="13375092" cy="113115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de-DE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210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948424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9381884" y="0"/>
            <a:ext cx="687535" cy="1130935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10052050" y="0"/>
            <a:ext cx="10052050" cy="1130935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649"/>
              </a:spcAft>
            </a:pPr>
            <a:endParaRPr lang="de-DE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10045490" y="0"/>
            <a:ext cx="10058608" cy="1130935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968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de-DE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1038844" y="2944587"/>
            <a:ext cx="7236289" cy="5420177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725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31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21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48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503549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12218533" y="0"/>
            <a:ext cx="687535" cy="1130935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12894102" y="0"/>
            <a:ext cx="7209999" cy="113093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de-DE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2894896" y="0"/>
            <a:ext cx="7209205" cy="1130935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2638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de-DE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5" name="Copyright"/>
          <p:cNvSpPr txBox="1"/>
          <p:nvPr userDrawn="1"/>
        </p:nvSpPr>
        <p:spPr>
          <a:xfrm rot="16200000">
            <a:off x="15643207" y="6459917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38844" y="2976001"/>
            <a:ext cx="10301953" cy="542017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725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31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0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772780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2513" y="2160"/>
            <a:ext cx="6741456" cy="113093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de-DE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1038844" y="4558376"/>
            <a:ext cx="4087171" cy="216739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5277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5267" y="5920834"/>
            <a:ext cx="2251240" cy="5578755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089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50527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6741456" cy="113093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de-DE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038844" y="4558376"/>
            <a:ext cx="4087171" cy="2167396"/>
          </a:xfrm>
        </p:spPr>
        <p:txBody>
          <a:bodyPr anchor="ctr" anchorCtr="0">
            <a:noAutofit/>
          </a:bodyPr>
          <a:lstStyle>
            <a:lvl1pPr>
              <a:defRPr sz="5277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649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3585894" y="5611516"/>
            <a:ext cx="4443392" cy="5708674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120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2822170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31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2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0"/>
            <a:ext cx="8948765" cy="1130935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de-DE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038845" y="2944587"/>
            <a:ext cx="6698456" cy="542017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7256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4745" y="5597605"/>
            <a:ext cx="2141296" cy="5890286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92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0200" b="1" i="0">
                <a:solidFill>
                  <a:srgbClr val="2B3180"/>
                </a:solidFill>
                <a:latin typeface="Titillium"/>
                <a:cs typeface="Titilliu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0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7416018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2" y="0"/>
            <a:ext cx="8948765" cy="1130935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de-DE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038845" y="2944587"/>
            <a:ext cx="6698456" cy="542017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7256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649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5900070" y="5633732"/>
            <a:ext cx="4443392" cy="5675618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410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5188889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8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10052050" cy="11309350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de-DE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1038844" y="1027043"/>
            <a:ext cx="7706648" cy="77654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7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de-DE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80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438212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10493222" cy="1130935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de-DE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1038844" y="1027043"/>
            <a:ext cx="7706648" cy="77654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7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de-DE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649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7354638" y="5619720"/>
            <a:ext cx="4443392" cy="5700109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953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3442100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13927496" cy="1130935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649"/>
              </a:spcAft>
            </a:pPr>
            <a:endParaRPr lang="de-DE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1038844" y="1027043"/>
            <a:ext cx="10317203" cy="77654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7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de-DE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1257" y="5919526"/>
            <a:ext cx="2251240" cy="5578755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25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7644178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13927496" cy="1130935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649"/>
              </a:spcAft>
            </a:pPr>
            <a:endParaRPr lang="de-DE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1038844" y="1027043"/>
            <a:ext cx="10317203" cy="77654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7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de-DE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649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10829745" y="5619720"/>
            <a:ext cx="4443392" cy="5700109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93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7987563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38844" y="6309907"/>
            <a:ext cx="18028391" cy="2649320"/>
          </a:xfrm>
        </p:spPr>
        <p:txBody>
          <a:bodyPr anchor="b">
            <a:noAutofit/>
          </a:bodyPr>
          <a:lstStyle>
            <a:lvl1pPr marL="0" algn="l" defTabSz="1507846" rtl="0" eaLnBrk="1" fontAlgn="auto" latinLnBrk="0" hangingPunct="1">
              <a:lnSpc>
                <a:spcPts val="9894"/>
              </a:lnSpc>
              <a:spcBef>
                <a:spcPts val="0"/>
              </a:spcBef>
              <a:spcAft>
                <a:spcPts val="0"/>
              </a:spcAft>
              <a:defRPr lang="en-US" sz="8905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big statement tex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16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2006032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1038844" y="1031454"/>
            <a:ext cx="1537964" cy="1538072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DE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038844" y="6309907"/>
            <a:ext cx="18028391" cy="2649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507846" rtl="0" eaLnBrk="1" fontAlgn="auto" latinLnBrk="0" hangingPunct="1">
              <a:lnSpc>
                <a:spcPts val="9894"/>
              </a:lnSpc>
              <a:spcBef>
                <a:spcPts val="0"/>
              </a:spcBef>
              <a:spcAft>
                <a:spcPts val="0"/>
              </a:spcAft>
              <a:defRPr lang="en-US" sz="8905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big statement tex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88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163079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11208686" y="167868"/>
            <a:ext cx="1268562" cy="16522267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20104100" cy="9675670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213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183304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8415356" y="10561317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038844" y="1027043"/>
            <a:ext cx="18028391" cy="776546"/>
          </a:xfrm>
        </p:spPr>
        <p:txBody>
          <a:bodyPr/>
          <a:lstStyle>
            <a:lvl1pPr>
              <a:defRPr sz="5607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506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2632999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377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0200" b="1" i="0">
                <a:solidFill>
                  <a:srgbClr val="2B3180"/>
                </a:solidFill>
                <a:latin typeface="Titillium"/>
                <a:cs typeface="Titilliu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0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5722900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8415356" y="10561317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96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6618533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0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55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829288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012FF1C-1E59-4BF6-B07F-181B95024F3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00"/>
                    </a14:imgEffect>
                    <a14:imgEffect>
                      <a14:saturation sat="400000"/>
                    </a14:imgEffect>
                    <a14:imgEffect>
                      <a14:brightnessContrast bright="-3000" contrast="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FF02D95-49F0-4415-AF67-7D05707C62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t="34345" b="36622"/>
          <a:stretch/>
        </p:blipFill>
        <p:spPr>
          <a:xfrm>
            <a:off x="289677" y="10553681"/>
            <a:ext cx="1542482" cy="44786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D1BFE7-C853-4DC8-89FB-A08264D36D5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0634" y="4762646"/>
            <a:ext cx="2882833" cy="102554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58F15DD-C516-41D0-8292-709CEA189BFB}"/>
              </a:ext>
            </a:extLst>
          </p:cNvPr>
          <p:cNvSpPr/>
          <p:nvPr userDrawn="1"/>
        </p:nvSpPr>
        <p:spPr>
          <a:xfrm>
            <a:off x="9470003" y="5926310"/>
            <a:ext cx="11641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84078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54281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989" y="-1"/>
            <a:ext cx="20107068" cy="11309352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968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649"/>
                </a:spcAft>
              </a:pPr>
              <a:endParaRPr lang="de-DE" sz="1979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1"/>
              <a:ext cx="9030914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150784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4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150784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4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150784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4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56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</p:spTree>
    <p:extLst>
      <p:ext uri="{BB962C8B-B14F-4D97-AF65-F5344CB8AC3E}">
        <p14:creationId xmlns:p14="http://schemas.microsoft.com/office/powerpoint/2010/main" val="1465414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4017597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61772" cy="261791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8905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B7E8C15-A8CF-4893-9B26-7D104DEBD2C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900"/>
                    </a14:imgEffect>
                    <a14:imgEffect>
                      <a14:saturation sat="400000"/>
                    </a14:imgEffect>
                    <a14:imgEffect>
                      <a14:brightnessContrast bright="-3000" contrast="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B543DF8-6784-4D03-9466-8A669F15C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3481" y="4737805"/>
            <a:ext cx="16286724" cy="27407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8905" b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Main Tit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748F846-A005-4C09-8739-EBD0D92A500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842353" y="7730670"/>
            <a:ext cx="11605718" cy="61899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958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Document Nam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AE514B0-F7FD-485F-A7E9-F772EAEA74F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842353" y="9569784"/>
            <a:ext cx="3488180" cy="3610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09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de-DE" dirty="0"/>
              <a:t>DAT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A5ACC7E-489A-FE4E-B2BC-8ABEA30F192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934" y="1210200"/>
            <a:ext cx="4215600" cy="1451198"/>
          </a:xfrm>
          <a:prstGeom prst="rect">
            <a:avLst/>
          </a:prstGeom>
        </p:spPr>
      </p:pic>
      <p:sp>
        <p:nvSpPr>
          <p:cNvPr id="17" name="Arc 16">
            <a:extLst>
              <a:ext uri="{FF2B5EF4-FFF2-40B4-BE49-F238E27FC236}">
                <a16:creationId xmlns:a16="http://schemas.microsoft.com/office/drawing/2014/main" id="{54561E2A-26D7-464C-83D6-EC0EF0B323A4}"/>
              </a:ext>
            </a:extLst>
          </p:cNvPr>
          <p:cNvSpPr/>
          <p:nvPr userDrawn="1"/>
        </p:nvSpPr>
        <p:spPr>
          <a:xfrm rot="1437452" flipH="1">
            <a:off x="3553480" y="2770896"/>
            <a:ext cx="10537802" cy="10538541"/>
          </a:xfrm>
          <a:prstGeom prst="arc">
            <a:avLst>
              <a:gd name="adj1" fmla="val 6228299"/>
              <a:gd name="adj2" fmla="val 21295730"/>
            </a:avLst>
          </a:prstGeom>
          <a:noFill/>
          <a:ln w="12700" cap="rnd" cmpd="sng" algn="ctr">
            <a:gradFill>
              <a:gsLst>
                <a:gs pos="0">
                  <a:schemeClr val="accent4">
                    <a:alpha val="56000"/>
                  </a:schemeClr>
                </a:gs>
                <a:gs pos="99000">
                  <a:schemeClr val="accent1">
                    <a:lumMod val="45000"/>
                    <a:lumOff val="55000"/>
                    <a:alpha val="9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81" tIns="75390" rIns="150781" bIns="75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979" dirty="0" err="1">
              <a:solidFill>
                <a:srgbClr val="FFFFFF"/>
              </a:solidFill>
            </a:endParaRP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876803EB-E9C4-A845-A888-F2386C26D747}"/>
              </a:ext>
            </a:extLst>
          </p:cNvPr>
          <p:cNvSpPr/>
          <p:nvPr userDrawn="1"/>
        </p:nvSpPr>
        <p:spPr>
          <a:xfrm rot="2346172" flipH="1">
            <a:off x="3942286" y="3159729"/>
            <a:ext cx="9760189" cy="9760874"/>
          </a:xfrm>
          <a:prstGeom prst="arc">
            <a:avLst>
              <a:gd name="adj1" fmla="val 6228299"/>
              <a:gd name="adj2" fmla="val 14160661"/>
            </a:avLst>
          </a:prstGeom>
          <a:noFill/>
          <a:ln w="12700" cap="rnd" cmpd="sng" algn="ctr">
            <a:gradFill>
              <a:gsLst>
                <a:gs pos="0">
                  <a:schemeClr val="accent4">
                    <a:alpha val="56000"/>
                  </a:schemeClr>
                </a:gs>
                <a:gs pos="99000">
                  <a:schemeClr val="accent1">
                    <a:lumMod val="45000"/>
                    <a:lumOff val="55000"/>
                    <a:alpha val="1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81" tIns="75390" rIns="150781" bIns="75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979" dirty="0" err="1">
              <a:solidFill>
                <a:srgbClr val="FFFFFF"/>
              </a:solidFill>
            </a:endParaRPr>
          </a:p>
        </p:txBody>
      </p:sp>
      <p:sp>
        <p:nvSpPr>
          <p:cNvPr id="19" name="Arc 18">
            <a:extLst>
              <a:ext uri="{FF2B5EF4-FFF2-40B4-BE49-F238E27FC236}">
                <a16:creationId xmlns:a16="http://schemas.microsoft.com/office/drawing/2014/main" id="{2B8F0BDE-80D3-E14C-8CEC-3A2C6DE0BEA8}"/>
              </a:ext>
            </a:extLst>
          </p:cNvPr>
          <p:cNvSpPr/>
          <p:nvPr userDrawn="1"/>
        </p:nvSpPr>
        <p:spPr>
          <a:xfrm rot="2346172" flipH="1">
            <a:off x="4285954" y="3503421"/>
            <a:ext cx="9072854" cy="9073491"/>
          </a:xfrm>
          <a:prstGeom prst="arc">
            <a:avLst>
              <a:gd name="adj1" fmla="val 6228299"/>
              <a:gd name="adj2" fmla="val 16707093"/>
            </a:avLst>
          </a:prstGeom>
          <a:noFill/>
          <a:ln w="12700" cap="rnd" cmpd="sng" algn="ctr">
            <a:gradFill>
              <a:gsLst>
                <a:gs pos="0">
                  <a:schemeClr val="accent4">
                    <a:alpha val="78000"/>
                  </a:schemeClr>
                </a:gs>
                <a:gs pos="99000">
                  <a:schemeClr val="accent1">
                    <a:lumMod val="45000"/>
                    <a:lumOff val="55000"/>
                    <a:alpha val="1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81" tIns="75390" rIns="150781" bIns="75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979" dirty="0" err="1">
              <a:solidFill>
                <a:srgbClr val="FFFFFF"/>
              </a:solidFill>
            </a:endParaRPr>
          </a:p>
        </p:txBody>
      </p:sp>
      <p:sp>
        <p:nvSpPr>
          <p:cNvPr id="20" name="Arc 19">
            <a:extLst>
              <a:ext uri="{FF2B5EF4-FFF2-40B4-BE49-F238E27FC236}">
                <a16:creationId xmlns:a16="http://schemas.microsoft.com/office/drawing/2014/main" id="{F56A2A27-642C-F841-84DB-8EE6B8DB3A97}"/>
              </a:ext>
            </a:extLst>
          </p:cNvPr>
          <p:cNvSpPr/>
          <p:nvPr userDrawn="1"/>
        </p:nvSpPr>
        <p:spPr>
          <a:xfrm rot="2346172" flipH="1">
            <a:off x="4691474" y="3908972"/>
            <a:ext cx="8261809" cy="8262389"/>
          </a:xfrm>
          <a:prstGeom prst="arc">
            <a:avLst>
              <a:gd name="adj1" fmla="val 6228299"/>
              <a:gd name="adj2" fmla="val 11675915"/>
            </a:avLst>
          </a:prstGeom>
          <a:noFill/>
          <a:ln w="12700" cap="rnd" cmpd="sng" algn="ctr">
            <a:gradFill>
              <a:gsLst>
                <a:gs pos="0">
                  <a:schemeClr val="accent4">
                    <a:alpha val="56000"/>
                  </a:schemeClr>
                </a:gs>
                <a:gs pos="99000">
                  <a:schemeClr val="accent1">
                    <a:lumMod val="45000"/>
                    <a:lumOff val="55000"/>
                    <a:alpha val="1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81" tIns="75390" rIns="150781" bIns="75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979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468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8369976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038844" y="1027044"/>
            <a:ext cx="18028639" cy="548151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5">
            <a:lum bright="100000"/>
          </a:blip>
          <a:srcRect l="58551" r="1"/>
          <a:stretch/>
        </p:blipFill>
        <p:spPr>
          <a:xfrm>
            <a:off x="190513" y="10303596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351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4337600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854" y="3439355"/>
            <a:ext cx="18029628" cy="67166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de-DE" dirty="0"/>
              <a:t>Edit Master text styles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  <a:p>
            <a:pPr lvl="4"/>
            <a:r>
              <a:rPr lang="de-DE" dirty="0"/>
              <a:t>Fifth level</a:t>
            </a:r>
          </a:p>
        </p:txBody>
      </p:sp>
      <p:sp>
        <p:nvSpPr>
          <p:cNvPr id="4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</p:spTree>
    <p:extLst>
      <p:ext uri="{BB962C8B-B14F-4D97-AF65-F5344CB8AC3E}">
        <p14:creationId xmlns:p14="http://schemas.microsoft.com/office/powerpoint/2010/main" val="20978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524734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2" y="-2158"/>
            <a:ext cx="7740870" cy="113115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81" tIns="75390" rIns="150781" bIns="753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649"/>
              </a:spcAft>
            </a:pPr>
            <a:endParaRPr lang="de-DE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38844" y="3560330"/>
            <a:ext cx="6173700" cy="8932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38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de-DE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1038844" y="2023494"/>
            <a:ext cx="6173700" cy="1096299"/>
          </a:xfrm>
        </p:spPr>
        <p:txBody>
          <a:bodyPr anchor="t">
            <a:noAutofit/>
          </a:bodyPr>
          <a:lstStyle>
            <a:lvl1pPr>
              <a:defRPr sz="3958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2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6667826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2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118487" y="4399797"/>
            <a:ext cx="15863789" cy="5278729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1507846" rtl="0" eaLnBrk="1" fontAlgn="auto" latinLnBrk="0" hangingPunct="1">
              <a:lnSpc>
                <a:spcPts val="9894"/>
              </a:lnSpc>
              <a:spcBef>
                <a:spcPts val="0"/>
              </a:spcBef>
              <a:spcAft>
                <a:spcPts val="0"/>
              </a:spcAft>
              <a:defRPr lang="en-US" sz="8905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2111810" y="2348416"/>
            <a:ext cx="1569348" cy="1569458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DE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1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4636598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38844" y="6310677"/>
            <a:ext cx="18034328" cy="3366090"/>
          </a:xfrm>
        </p:spPr>
        <p:txBody>
          <a:bodyPr anchor="t">
            <a:noAutofit/>
          </a:bodyPr>
          <a:lstStyle>
            <a:lvl1pPr>
              <a:defRPr sz="8905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1038845" y="6068619"/>
            <a:ext cx="1905962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95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7237589" y="8424413"/>
            <a:ext cx="2867025" cy="2884170"/>
          </a:xfrm>
          <a:custGeom>
            <a:avLst/>
            <a:gdLst/>
            <a:ahLst/>
            <a:cxnLst/>
            <a:rect l="l" t="t" r="r" b="b"/>
            <a:pathLst>
              <a:path w="2867025" h="2884170">
                <a:moveTo>
                  <a:pt x="2863211" y="0"/>
                </a:moveTo>
                <a:lnTo>
                  <a:pt x="2814724" y="577"/>
                </a:lnTo>
                <a:lnTo>
                  <a:pt x="2766433" y="1951"/>
                </a:lnTo>
                <a:lnTo>
                  <a:pt x="2718346" y="4116"/>
                </a:lnTo>
                <a:lnTo>
                  <a:pt x="2670469" y="7065"/>
                </a:lnTo>
                <a:lnTo>
                  <a:pt x="2622807" y="10792"/>
                </a:lnTo>
                <a:lnTo>
                  <a:pt x="2575366" y="15290"/>
                </a:lnTo>
                <a:lnTo>
                  <a:pt x="2528155" y="20554"/>
                </a:lnTo>
                <a:lnTo>
                  <a:pt x="2481177" y="26576"/>
                </a:lnTo>
                <a:lnTo>
                  <a:pt x="2434441" y="33352"/>
                </a:lnTo>
                <a:lnTo>
                  <a:pt x="2387951" y="40873"/>
                </a:lnTo>
                <a:lnTo>
                  <a:pt x="2341715" y="49135"/>
                </a:lnTo>
                <a:lnTo>
                  <a:pt x="2295738" y="58130"/>
                </a:lnTo>
                <a:lnTo>
                  <a:pt x="2250027" y="67853"/>
                </a:lnTo>
                <a:lnTo>
                  <a:pt x="2204588" y="78296"/>
                </a:lnTo>
                <a:lnTo>
                  <a:pt x="2159427" y="89455"/>
                </a:lnTo>
                <a:lnTo>
                  <a:pt x="2114551" y="101322"/>
                </a:lnTo>
                <a:lnTo>
                  <a:pt x="2069966" y="113891"/>
                </a:lnTo>
                <a:lnTo>
                  <a:pt x="2025678" y="127156"/>
                </a:lnTo>
                <a:lnTo>
                  <a:pt x="1981693" y="141111"/>
                </a:lnTo>
                <a:lnTo>
                  <a:pt x="1938018" y="155749"/>
                </a:lnTo>
                <a:lnTo>
                  <a:pt x="1894659" y="171063"/>
                </a:lnTo>
                <a:lnTo>
                  <a:pt x="1851622" y="187049"/>
                </a:lnTo>
                <a:lnTo>
                  <a:pt x="1808913" y="203698"/>
                </a:lnTo>
                <a:lnTo>
                  <a:pt x="1766539" y="221006"/>
                </a:lnTo>
                <a:lnTo>
                  <a:pt x="1724506" y="238965"/>
                </a:lnTo>
                <a:lnTo>
                  <a:pt x="1682820" y="257570"/>
                </a:lnTo>
                <a:lnTo>
                  <a:pt x="1641488" y="276814"/>
                </a:lnTo>
                <a:lnTo>
                  <a:pt x="1600516" y="296690"/>
                </a:lnTo>
                <a:lnTo>
                  <a:pt x="1559909" y="317193"/>
                </a:lnTo>
                <a:lnTo>
                  <a:pt x="1519675" y="338317"/>
                </a:lnTo>
                <a:lnTo>
                  <a:pt x="1479819" y="360053"/>
                </a:lnTo>
                <a:lnTo>
                  <a:pt x="1440349" y="382398"/>
                </a:lnTo>
                <a:lnTo>
                  <a:pt x="1401269" y="405344"/>
                </a:lnTo>
                <a:lnTo>
                  <a:pt x="1362586" y="428884"/>
                </a:lnTo>
                <a:lnTo>
                  <a:pt x="1324308" y="453013"/>
                </a:lnTo>
                <a:lnTo>
                  <a:pt x="1286439" y="477725"/>
                </a:lnTo>
                <a:lnTo>
                  <a:pt x="1248986" y="503012"/>
                </a:lnTo>
                <a:lnTo>
                  <a:pt x="1211955" y="528869"/>
                </a:lnTo>
                <a:lnTo>
                  <a:pt x="1175354" y="555290"/>
                </a:lnTo>
                <a:lnTo>
                  <a:pt x="1139187" y="582267"/>
                </a:lnTo>
                <a:lnTo>
                  <a:pt x="1103461" y="609795"/>
                </a:lnTo>
                <a:lnTo>
                  <a:pt x="1068183" y="637868"/>
                </a:lnTo>
                <a:lnTo>
                  <a:pt x="1033358" y="666479"/>
                </a:lnTo>
                <a:lnTo>
                  <a:pt x="998994" y="695621"/>
                </a:lnTo>
                <a:lnTo>
                  <a:pt x="965095" y="725289"/>
                </a:lnTo>
                <a:lnTo>
                  <a:pt x="931669" y="755477"/>
                </a:lnTo>
                <a:lnTo>
                  <a:pt x="898722" y="786177"/>
                </a:lnTo>
                <a:lnTo>
                  <a:pt x="866260" y="817383"/>
                </a:lnTo>
                <a:lnTo>
                  <a:pt x="834290" y="849090"/>
                </a:lnTo>
                <a:lnTo>
                  <a:pt x="802816" y="881291"/>
                </a:lnTo>
                <a:lnTo>
                  <a:pt x="771847" y="913979"/>
                </a:lnTo>
                <a:lnTo>
                  <a:pt x="741388" y="947149"/>
                </a:lnTo>
                <a:lnTo>
                  <a:pt x="711445" y="980794"/>
                </a:lnTo>
                <a:lnTo>
                  <a:pt x="682024" y="1014908"/>
                </a:lnTo>
                <a:lnTo>
                  <a:pt x="653133" y="1049484"/>
                </a:lnTo>
                <a:lnTo>
                  <a:pt x="624777" y="1084516"/>
                </a:lnTo>
                <a:lnTo>
                  <a:pt x="596962" y="1119997"/>
                </a:lnTo>
                <a:lnTo>
                  <a:pt x="569694" y="1155923"/>
                </a:lnTo>
                <a:lnTo>
                  <a:pt x="542981" y="1192285"/>
                </a:lnTo>
                <a:lnTo>
                  <a:pt x="516828" y="1229078"/>
                </a:lnTo>
                <a:lnTo>
                  <a:pt x="491241" y="1266296"/>
                </a:lnTo>
                <a:lnTo>
                  <a:pt x="466227" y="1303932"/>
                </a:lnTo>
                <a:lnTo>
                  <a:pt x="441792" y="1341980"/>
                </a:lnTo>
                <a:lnTo>
                  <a:pt x="417943" y="1380434"/>
                </a:lnTo>
                <a:lnTo>
                  <a:pt x="394685" y="1419286"/>
                </a:lnTo>
                <a:lnTo>
                  <a:pt x="372024" y="1458532"/>
                </a:lnTo>
                <a:lnTo>
                  <a:pt x="349968" y="1498165"/>
                </a:lnTo>
                <a:lnTo>
                  <a:pt x="328522" y="1538178"/>
                </a:lnTo>
                <a:lnTo>
                  <a:pt x="307692" y="1578565"/>
                </a:lnTo>
                <a:lnTo>
                  <a:pt x="287485" y="1619319"/>
                </a:lnTo>
                <a:lnTo>
                  <a:pt x="267908" y="1660436"/>
                </a:lnTo>
                <a:lnTo>
                  <a:pt x="248966" y="1701907"/>
                </a:lnTo>
                <a:lnTo>
                  <a:pt x="230665" y="1743727"/>
                </a:lnTo>
                <a:lnTo>
                  <a:pt x="213012" y="1785890"/>
                </a:lnTo>
                <a:lnTo>
                  <a:pt x="196014" y="1828389"/>
                </a:lnTo>
                <a:lnTo>
                  <a:pt x="179676" y="1871217"/>
                </a:lnTo>
                <a:lnTo>
                  <a:pt x="164004" y="1914370"/>
                </a:lnTo>
                <a:lnTo>
                  <a:pt x="149006" y="1957839"/>
                </a:lnTo>
                <a:lnTo>
                  <a:pt x="134686" y="2001620"/>
                </a:lnTo>
                <a:lnTo>
                  <a:pt x="121052" y="2045705"/>
                </a:lnTo>
                <a:lnTo>
                  <a:pt x="108110" y="2090089"/>
                </a:lnTo>
                <a:lnTo>
                  <a:pt x="95866" y="2134764"/>
                </a:lnTo>
                <a:lnTo>
                  <a:pt x="84326" y="2179725"/>
                </a:lnTo>
                <a:lnTo>
                  <a:pt x="73497" y="2224966"/>
                </a:lnTo>
                <a:lnTo>
                  <a:pt x="63385" y="2270480"/>
                </a:lnTo>
                <a:lnTo>
                  <a:pt x="53995" y="2316261"/>
                </a:lnTo>
                <a:lnTo>
                  <a:pt x="45335" y="2362302"/>
                </a:lnTo>
                <a:lnTo>
                  <a:pt x="37410" y="2408597"/>
                </a:lnTo>
                <a:lnTo>
                  <a:pt x="30228" y="2455140"/>
                </a:lnTo>
                <a:lnTo>
                  <a:pt x="23793" y="2501925"/>
                </a:lnTo>
                <a:lnTo>
                  <a:pt x="18113" y="2548945"/>
                </a:lnTo>
                <a:lnTo>
                  <a:pt x="13193" y="2596194"/>
                </a:lnTo>
                <a:lnTo>
                  <a:pt x="9040" y="2643666"/>
                </a:lnTo>
                <a:lnTo>
                  <a:pt x="5661" y="2691353"/>
                </a:lnTo>
                <a:lnTo>
                  <a:pt x="3061" y="2739251"/>
                </a:lnTo>
                <a:lnTo>
                  <a:pt x="1246" y="2787353"/>
                </a:lnTo>
                <a:lnTo>
                  <a:pt x="224" y="2835652"/>
                </a:lnTo>
                <a:lnTo>
                  <a:pt x="0" y="2884142"/>
                </a:lnTo>
                <a:lnTo>
                  <a:pt x="901993" y="2880833"/>
                </a:lnTo>
                <a:lnTo>
                  <a:pt x="902403" y="2832213"/>
                </a:lnTo>
                <a:lnTo>
                  <a:pt x="903981" y="2783877"/>
                </a:lnTo>
                <a:lnTo>
                  <a:pt x="906712" y="2735839"/>
                </a:lnTo>
                <a:lnTo>
                  <a:pt x="910584" y="2688114"/>
                </a:lnTo>
                <a:lnTo>
                  <a:pt x="915584" y="2640714"/>
                </a:lnTo>
                <a:lnTo>
                  <a:pt x="921697" y="2593653"/>
                </a:lnTo>
                <a:lnTo>
                  <a:pt x="928910" y="2546945"/>
                </a:lnTo>
                <a:lnTo>
                  <a:pt x="937210" y="2500602"/>
                </a:lnTo>
                <a:lnTo>
                  <a:pt x="946583" y="2454640"/>
                </a:lnTo>
                <a:lnTo>
                  <a:pt x="957016" y="2409070"/>
                </a:lnTo>
                <a:lnTo>
                  <a:pt x="968496" y="2363908"/>
                </a:lnTo>
                <a:lnTo>
                  <a:pt x="981009" y="2319166"/>
                </a:lnTo>
                <a:lnTo>
                  <a:pt x="994541" y="2274857"/>
                </a:lnTo>
                <a:lnTo>
                  <a:pt x="1009079" y="2230996"/>
                </a:lnTo>
                <a:lnTo>
                  <a:pt x="1024610" y="2187596"/>
                </a:lnTo>
                <a:lnTo>
                  <a:pt x="1041121" y="2144670"/>
                </a:lnTo>
                <a:lnTo>
                  <a:pt x="1058597" y="2102233"/>
                </a:lnTo>
                <a:lnTo>
                  <a:pt x="1077025" y="2060296"/>
                </a:lnTo>
                <a:lnTo>
                  <a:pt x="1096392" y="2018876"/>
                </a:lnTo>
                <a:lnTo>
                  <a:pt x="1116684" y="1977983"/>
                </a:lnTo>
                <a:lnTo>
                  <a:pt x="1137889" y="1937633"/>
                </a:lnTo>
                <a:lnTo>
                  <a:pt x="1159992" y="1897839"/>
                </a:lnTo>
                <a:lnTo>
                  <a:pt x="1182980" y="1858614"/>
                </a:lnTo>
                <a:lnTo>
                  <a:pt x="1206839" y="1819972"/>
                </a:lnTo>
                <a:lnTo>
                  <a:pt x="1231557" y="1781926"/>
                </a:lnTo>
                <a:lnTo>
                  <a:pt x="1257120" y="1744490"/>
                </a:lnTo>
                <a:lnTo>
                  <a:pt x="1283513" y="1707678"/>
                </a:lnTo>
                <a:lnTo>
                  <a:pt x="1310725" y="1671502"/>
                </a:lnTo>
                <a:lnTo>
                  <a:pt x="1338741" y="1635978"/>
                </a:lnTo>
                <a:lnTo>
                  <a:pt x="1367548" y="1601117"/>
                </a:lnTo>
                <a:lnTo>
                  <a:pt x="1397132" y="1566934"/>
                </a:lnTo>
                <a:lnTo>
                  <a:pt x="1427481" y="1533442"/>
                </a:lnTo>
                <a:lnTo>
                  <a:pt x="1458579" y="1500655"/>
                </a:lnTo>
                <a:lnTo>
                  <a:pt x="1490416" y="1468586"/>
                </a:lnTo>
                <a:lnTo>
                  <a:pt x="1522975" y="1437250"/>
                </a:lnTo>
                <a:lnTo>
                  <a:pt x="1556245" y="1406658"/>
                </a:lnTo>
                <a:lnTo>
                  <a:pt x="1590212" y="1376826"/>
                </a:lnTo>
                <a:lnTo>
                  <a:pt x="1624862" y="1347766"/>
                </a:lnTo>
                <a:lnTo>
                  <a:pt x="1660182" y="1319492"/>
                </a:lnTo>
                <a:lnTo>
                  <a:pt x="1696158" y="1292017"/>
                </a:lnTo>
                <a:lnTo>
                  <a:pt x="1732778" y="1265356"/>
                </a:lnTo>
                <a:lnTo>
                  <a:pt x="1770026" y="1239521"/>
                </a:lnTo>
                <a:lnTo>
                  <a:pt x="1807891" y="1214527"/>
                </a:lnTo>
                <a:lnTo>
                  <a:pt x="1846359" y="1190386"/>
                </a:lnTo>
                <a:lnTo>
                  <a:pt x="1885416" y="1167113"/>
                </a:lnTo>
                <a:lnTo>
                  <a:pt x="1925048" y="1144720"/>
                </a:lnTo>
                <a:lnTo>
                  <a:pt x="1965243" y="1123222"/>
                </a:lnTo>
                <a:lnTo>
                  <a:pt x="2005987" y="1102632"/>
                </a:lnTo>
                <a:lnTo>
                  <a:pt x="2047266" y="1082963"/>
                </a:lnTo>
                <a:lnTo>
                  <a:pt x="2089067" y="1064229"/>
                </a:lnTo>
                <a:lnTo>
                  <a:pt x="2131376" y="1046444"/>
                </a:lnTo>
                <a:lnTo>
                  <a:pt x="2174181" y="1029621"/>
                </a:lnTo>
                <a:lnTo>
                  <a:pt x="2217467" y="1013774"/>
                </a:lnTo>
                <a:lnTo>
                  <a:pt x="2261221" y="998915"/>
                </a:lnTo>
                <a:lnTo>
                  <a:pt x="2305430" y="985060"/>
                </a:lnTo>
                <a:lnTo>
                  <a:pt x="2350080" y="972221"/>
                </a:lnTo>
                <a:lnTo>
                  <a:pt x="2395158" y="960412"/>
                </a:lnTo>
                <a:lnTo>
                  <a:pt x="2440651" y="949646"/>
                </a:lnTo>
                <a:lnTo>
                  <a:pt x="2486544" y="939937"/>
                </a:lnTo>
                <a:lnTo>
                  <a:pt x="2532825" y="931298"/>
                </a:lnTo>
                <a:lnTo>
                  <a:pt x="2579480" y="923744"/>
                </a:lnTo>
                <a:lnTo>
                  <a:pt x="2626495" y="917287"/>
                </a:lnTo>
                <a:lnTo>
                  <a:pt x="2673857" y="911941"/>
                </a:lnTo>
                <a:lnTo>
                  <a:pt x="2721553" y="907720"/>
                </a:lnTo>
                <a:lnTo>
                  <a:pt x="2769570" y="904638"/>
                </a:lnTo>
                <a:lnTo>
                  <a:pt x="2817893" y="902706"/>
                </a:lnTo>
                <a:lnTo>
                  <a:pt x="2866509" y="901941"/>
                </a:lnTo>
                <a:lnTo>
                  <a:pt x="2863211" y="0"/>
                </a:lnTo>
                <a:close/>
              </a:path>
            </a:pathLst>
          </a:custGeom>
          <a:solidFill>
            <a:srgbClr val="9CC93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96597" y="2431705"/>
            <a:ext cx="243090" cy="243854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97937" y="2177162"/>
            <a:ext cx="244373" cy="246568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698282" y="1706817"/>
            <a:ext cx="245667" cy="248568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240475" y="1061960"/>
            <a:ext cx="246008" cy="248553"/>
          </a:xfrm>
          <a:prstGeom prst="rect">
            <a:avLst/>
          </a:prstGeom>
        </p:spPr>
      </p:pic>
      <p:pic>
        <p:nvPicPr>
          <p:cNvPr id="21" name="bg object 21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581322" y="294489"/>
            <a:ext cx="243966" cy="244707"/>
          </a:xfrm>
          <a:prstGeom prst="rect">
            <a:avLst/>
          </a:prstGeom>
        </p:spPr>
      </p:pic>
      <p:sp>
        <p:nvSpPr>
          <p:cNvPr id="22" name="bg object 22"/>
          <p:cNvSpPr/>
          <p:nvPr/>
        </p:nvSpPr>
        <p:spPr>
          <a:xfrm>
            <a:off x="18403448" y="0"/>
            <a:ext cx="1701164" cy="1923414"/>
          </a:xfrm>
          <a:custGeom>
            <a:avLst/>
            <a:gdLst/>
            <a:ahLst/>
            <a:cxnLst/>
            <a:rect l="l" t="t" r="r" b="b"/>
            <a:pathLst>
              <a:path w="1701165" h="1923414">
                <a:moveTo>
                  <a:pt x="1035897" y="0"/>
                </a:moveTo>
                <a:lnTo>
                  <a:pt x="19109" y="0"/>
                </a:lnTo>
                <a:lnTo>
                  <a:pt x="16880" y="14172"/>
                </a:lnTo>
                <a:lnTo>
                  <a:pt x="10853" y="61096"/>
                </a:lnTo>
                <a:lnTo>
                  <a:pt x="6132" y="108418"/>
                </a:lnTo>
                <a:lnTo>
                  <a:pt x="2754" y="155883"/>
                </a:lnTo>
                <a:lnTo>
                  <a:pt x="705" y="203768"/>
                </a:lnTo>
                <a:lnTo>
                  <a:pt x="0" y="252579"/>
                </a:lnTo>
                <a:lnTo>
                  <a:pt x="687" y="300980"/>
                </a:lnTo>
                <a:lnTo>
                  <a:pt x="2738" y="349040"/>
                </a:lnTo>
                <a:lnTo>
                  <a:pt x="6089" y="396126"/>
                </a:lnTo>
                <a:lnTo>
                  <a:pt x="6132" y="396741"/>
                </a:lnTo>
                <a:lnTo>
                  <a:pt x="10853" y="444062"/>
                </a:lnTo>
                <a:lnTo>
                  <a:pt x="16880" y="490987"/>
                </a:lnTo>
                <a:lnTo>
                  <a:pt x="24196" y="537497"/>
                </a:lnTo>
                <a:lnTo>
                  <a:pt x="32782" y="583572"/>
                </a:lnTo>
                <a:lnTo>
                  <a:pt x="42619" y="629194"/>
                </a:lnTo>
                <a:lnTo>
                  <a:pt x="53690" y="674346"/>
                </a:lnTo>
                <a:lnTo>
                  <a:pt x="65974" y="719007"/>
                </a:lnTo>
                <a:lnTo>
                  <a:pt x="79454" y="763160"/>
                </a:lnTo>
                <a:lnTo>
                  <a:pt x="94111" y="806786"/>
                </a:lnTo>
                <a:lnTo>
                  <a:pt x="109927" y="849867"/>
                </a:lnTo>
                <a:lnTo>
                  <a:pt x="126882" y="892383"/>
                </a:lnTo>
                <a:lnTo>
                  <a:pt x="144984" y="934371"/>
                </a:lnTo>
                <a:lnTo>
                  <a:pt x="164139" y="975649"/>
                </a:lnTo>
                <a:lnTo>
                  <a:pt x="184403" y="1016362"/>
                </a:lnTo>
                <a:lnTo>
                  <a:pt x="205732" y="1056436"/>
                </a:lnTo>
                <a:lnTo>
                  <a:pt x="228109" y="1095853"/>
                </a:lnTo>
                <a:lnTo>
                  <a:pt x="251514" y="1134595"/>
                </a:lnTo>
                <a:lnTo>
                  <a:pt x="275929" y="1172642"/>
                </a:lnTo>
                <a:lnTo>
                  <a:pt x="301335" y="1209977"/>
                </a:lnTo>
                <a:lnTo>
                  <a:pt x="327714" y="1246580"/>
                </a:lnTo>
                <a:lnTo>
                  <a:pt x="355048" y="1282434"/>
                </a:lnTo>
                <a:lnTo>
                  <a:pt x="383317" y="1317519"/>
                </a:lnTo>
                <a:lnTo>
                  <a:pt x="412503" y="1351817"/>
                </a:lnTo>
                <a:lnTo>
                  <a:pt x="442587" y="1385310"/>
                </a:lnTo>
                <a:lnTo>
                  <a:pt x="473551" y="1417978"/>
                </a:lnTo>
                <a:lnTo>
                  <a:pt x="505377" y="1449804"/>
                </a:lnTo>
                <a:lnTo>
                  <a:pt x="538045" y="1480768"/>
                </a:lnTo>
                <a:lnTo>
                  <a:pt x="571538" y="1510852"/>
                </a:lnTo>
                <a:lnTo>
                  <a:pt x="605836" y="1540038"/>
                </a:lnTo>
                <a:lnTo>
                  <a:pt x="640921" y="1568307"/>
                </a:lnTo>
                <a:lnTo>
                  <a:pt x="676775" y="1595641"/>
                </a:lnTo>
                <a:lnTo>
                  <a:pt x="713378" y="1622020"/>
                </a:lnTo>
                <a:lnTo>
                  <a:pt x="750713" y="1647426"/>
                </a:lnTo>
                <a:lnTo>
                  <a:pt x="788760" y="1671841"/>
                </a:lnTo>
                <a:lnTo>
                  <a:pt x="827502" y="1695246"/>
                </a:lnTo>
                <a:lnTo>
                  <a:pt x="866919" y="1717623"/>
                </a:lnTo>
                <a:lnTo>
                  <a:pt x="906993" y="1738952"/>
                </a:lnTo>
                <a:lnTo>
                  <a:pt x="947706" y="1759216"/>
                </a:lnTo>
                <a:lnTo>
                  <a:pt x="989038" y="1778396"/>
                </a:lnTo>
                <a:lnTo>
                  <a:pt x="1030972" y="1796473"/>
                </a:lnTo>
                <a:lnTo>
                  <a:pt x="1073488" y="1813428"/>
                </a:lnTo>
                <a:lnTo>
                  <a:pt x="1116569" y="1829244"/>
                </a:lnTo>
                <a:lnTo>
                  <a:pt x="1160195" y="1843901"/>
                </a:lnTo>
                <a:lnTo>
                  <a:pt x="1204348" y="1857381"/>
                </a:lnTo>
                <a:lnTo>
                  <a:pt x="1249010" y="1869666"/>
                </a:lnTo>
                <a:lnTo>
                  <a:pt x="1294161" y="1880736"/>
                </a:lnTo>
                <a:lnTo>
                  <a:pt x="1339783" y="1890573"/>
                </a:lnTo>
                <a:lnTo>
                  <a:pt x="1385859" y="1899159"/>
                </a:lnTo>
                <a:lnTo>
                  <a:pt x="1432368" y="1906475"/>
                </a:lnTo>
                <a:lnTo>
                  <a:pt x="1479293" y="1912503"/>
                </a:lnTo>
                <a:lnTo>
                  <a:pt x="1526615" y="1917223"/>
                </a:lnTo>
                <a:lnTo>
                  <a:pt x="1574315" y="1920618"/>
                </a:lnTo>
                <a:lnTo>
                  <a:pt x="1622375" y="1922668"/>
                </a:lnTo>
                <a:lnTo>
                  <a:pt x="1670776" y="1923356"/>
                </a:lnTo>
                <a:lnTo>
                  <a:pt x="1700651" y="1922931"/>
                </a:lnTo>
                <a:lnTo>
                  <a:pt x="1700651" y="936087"/>
                </a:lnTo>
                <a:lnTo>
                  <a:pt x="1670776" y="936087"/>
                </a:lnTo>
                <a:lnTo>
                  <a:pt x="1621964" y="934371"/>
                </a:lnTo>
                <a:lnTo>
                  <a:pt x="1574079" y="929300"/>
                </a:lnTo>
                <a:lnTo>
                  <a:pt x="1527236" y="920989"/>
                </a:lnTo>
                <a:lnTo>
                  <a:pt x="1481550" y="909554"/>
                </a:lnTo>
                <a:lnTo>
                  <a:pt x="1437138" y="895111"/>
                </a:lnTo>
                <a:lnTo>
                  <a:pt x="1394114" y="877776"/>
                </a:lnTo>
                <a:lnTo>
                  <a:pt x="1352595" y="857663"/>
                </a:lnTo>
                <a:lnTo>
                  <a:pt x="1312696" y="834890"/>
                </a:lnTo>
                <a:lnTo>
                  <a:pt x="1274533" y="809571"/>
                </a:lnTo>
                <a:lnTo>
                  <a:pt x="1238222" y="781821"/>
                </a:lnTo>
                <a:lnTo>
                  <a:pt x="1203877" y="751758"/>
                </a:lnTo>
                <a:lnTo>
                  <a:pt x="1171616" y="719496"/>
                </a:lnTo>
                <a:lnTo>
                  <a:pt x="1141553" y="685151"/>
                </a:lnTo>
                <a:lnTo>
                  <a:pt x="1113804" y="648838"/>
                </a:lnTo>
                <a:lnTo>
                  <a:pt x="1088485" y="610674"/>
                </a:lnTo>
                <a:lnTo>
                  <a:pt x="1065712" y="570774"/>
                </a:lnTo>
                <a:lnTo>
                  <a:pt x="1045600" y="529253"/>
                </a:lnTo>
                <a:lnTo>
                  <a:pt x="1028265" y="486228"/>
                </a:lnTo>
                <a:lnTo>
                  <a:pt x="1013822" y="441814"/>
                </a:lnTo>
                <a:lnTo>
                  <a:pt x="1002387" y="396126"/>
                </a:lnTo>
                <a:lnTo>
                  <a:pt x="994076" y="349281"/>
                </a:lnTo>
                <a:lnTo>
                  <a:pt x="989005" y="301393"/>
                </a:lnTo>
                <a:lnTo>
                  <a:pt x="987289" y="252579"/>
                </a:lnTo>
                <a:lnTo>
                  <a:pt x="988991" y="204178"/>
                </a:lnTo>
                <a:lnTo>
                  <a:pt x="989005" y="203768"/>
                </a:lnTo>
                <a:lnTo>
                  <a:pt x="994051" y="156118"/>
                </a:lnTo>
                <a:lnTo>
                  <a:pt x="994076" y="155883"/>
                </a:lnTo>
                <a:lnTo>
                  <a:pt x="1002387" y="109039"/>
                </a:lnTo>
                <a:lnTo>
                  <a:pt x="1013822" y="63354"/>
                </a:lnTo>
                <a:lnTo>
                  <a:pt x="1028265" y="18941"/>
                </a:lnTo>
                <a:lnTo>
                  <a:pt x="1035897" y="0"/>
                </a:lnTo>
                <a:close/>
              </a:path>
              <a:path w="1701165" h="1923414">
                <a:moveTo>
                  <a:pt x="1700651" y="935037"/>
                </a:moveTo>
                <a:lnTo>
                  <a:pt x="1670776" y="936087"/>
                </a:lnTo>
                <a:lnTo>
                  <a:pt x="1700651" y="936087"/>
                </a:lnTo>
                <a:lnTo>
                  <a:pt x="1700651" y="935037"/>
                </a:lnTo>
                <a:close/>
              </a:path>
            </a:pathLst>
          </a:custGeom>
          <a:solidFill>
            <a:srgbClr val="2B31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17125438" y="227272"/>
            <a:ext cx="1874520" cy="1874520"/>
          </a:xfrm>
          <a:custGeom>
            <a:avLst/>
            <a:gdLst/>
            <a:ahLst/>
            <a:cxnLst/>
            <a:rect l="l" t="t" r="r" b="b"/>
            <a:pathLst>
              <a:path w="1874519" h="1874520">
                <a:moveTo>
                  <a:pt x="937207" y="0"/>
                </a:moveTo>
                <a:lnTo>
                  <a:pt x="889051" y="1221"/>
                </a:lnTo>
                <a:lnTo>
                  <a:pt x="841519" y="4847"/>
                </a:lnTo>
                <a:lnTo>
                  <a:pt x="794670" y="10818"/>
                </a:lnTo>
                <a:lnTo>
                  <a:pt x="748564" y="19074"/>
                </a:lnTo>
                <a:lnTo>
                  <a:pt x="703259" y="29556"/>
                </a:lnTo>
                <a:lnTo>
                  <a:pt x="658816" y="42205"/>
                </a:lnTo>
                <a:lnTo>
                  <a:pt x="615294" y="56962"/>
                </a:lnTo>
                <a:lnTo>
                  <a:pt x="572751" y="73766"/>
                </a:lnTo>
                <a:lnTo>
                  <a:pt x="531248" y="92559"/>
                </a:lnTo>
                <a:lnTo>
                  <a:pt x="490844" y="113282"/>
                </a:lnTo>
                <a:lnTo>
                  <a:pt x="451597" y="135874"/>
                </a:lnTo>
                <a:lnTo>
                  <a:pt x="413568" y="160277"/>
                </a:lnTo>
                <a:lnTo>
                  <a:pt x="376815" y="186432"/>
                </a:lnTo>
                <a:lnTo>
                  <a:pt x="341398" y="214279"/>
                </a:lnTo>
                <a:lnTo>
                  <a:pt x="307377" y="243758"/>
                </a:lnTo>
                <a:lnTo>
                  <a:pt x="274811" y="274811"/>
                </a:lnTo>
                <a:lnTo>
                  <a:pt x="243758" y="307377"/>
                </a:lnTo>
                <a:lnTo>
                  <a:pt x="214279" y="341398"/>
                </a:lnTo>
                <a:lnTo>
                  <a:pt x="186432" y="376815"/>
                </a:lnTo>
                <a:lnTo>
                  <a:pt x="160277" y="413568"/>
                </a:lnTo>
                <a:lnTo>
                  <a:pt x="135874" y="451597"/>
                </a:lnTo>
                <a:lnTo>
                  <a:pt x="113282" y="490844"/>
                </a:lnTo>
                <a:lnTo>
                  <a:pt x="92559" y="531248"/>
                </a:lnTo>
                <a:lnTo>
                  <a:pt x="73766" y="572751"/>
                </a:lnTo>
                <a:lnTo>
                  <a:pt x="56962" y="615294"/>
                </a:lnTo>
                <a:lnTo>
                  <a:pt x="42205" y="658816"/>
                </a:lnTo>
                <a:lnTo>
                  <a:pt x="29556" y="703259"/>
                </a:lnTo>
                <a:lnTo>
                  <a:pt x="19074" y="748564"/>
                </a:lnTo>
                <a:lnTo>
                  <a:pt x="10818" y="794670"/>
                </a:lnTo>
                <a:lnTo>
                  <a:pt x="4844" y="841564"/>
                </a:lnTo>
                <a:lnTo>
                  <a:pt x="1221" y="889051"/>
                </a:lnTo>
                <a:lnTo>
                  <a:pt x="0" y="937207"/>
                </a:lnTo>
                <a:lnTo>
                  <a:pt x="1225" y="985406"/>
                </a:lnTo>
                <a:lnTo>
                  <a:pt x="4847" y="1032896"/>
                </a:lnTo>
                <a:lnTo>
                  <a:pt x="10781" y="1079459"/>
                </a:lnTo>
                <a:lnTo>
                  <a:pt x="10818" y="1079746"/>
                </a:lnTo>
                <a:lnTo>
                  <a:pt x="18947" y="1125146"/>
                </a:lnTo>
                <a:lnTo>
                  <a:pt x="19074" y="1125853"/>
                </a:lnTo>
                <a:lnTo>
                  <a:pt x="29556" y="1171158"/>
                </a:lnTo>
                <a:lnTo>
                  <a:pt x="42205" y="1215602"/>
                </a:lnTo>
                <a:lnTo>
                  <a:pt x="56962" y="1259125"/>
                </a:lnTo>
                <a:lnTo>
                  <a:pt x="73766" y="1301668"/>
                </a:lnTo>
                <a:lnTo>
                  <a:pt x="92559" y="1343172"/>
                </a:lnTo>
                <a:lnTo>
                  <a:pt x="113282" y="1383577"/>
                </a:lnTo>
                <a:lnTo>
                  <a:pt x="135874" y="1422824"/>
                </a:lnTo>
                <a:lnTo>
                  <a:pt x="160277" y="1460853"/>
                </a:lnTo>
                <a:lnTo>
                  <a:pt x="186432" y="1497606"/>
                </a:lnTo>
                <a:lnTo>
                  <a:pt x="214279" y="1533023"/>
                </a:lnTo>
                <a:lnTo>
                  <a:pt x="243758" y="1567045"/>
                </a:lnTo>
                <a:lnTo>
                  <a:pt x="274811" y="1599612"/>
                </a:lnTo>
                <a:lnTo>
                  <a:pt x="307377" y="1630665"/>
                </a:lnTo>
                <a:lnTo>
                  <a:pt x="341398" y="1660144"/>
                </a:lnTo>
                <a:lnTo>
                  <a:pt x="376815" y="1687991"/>
                </a:lnTo>
                <a:lnTo>
                  <a:pt x="413568" y="1714146"/>
                </a:lnTo>
                <a:lnTo>
                  <a:pt x="451597" y="1738549"/>
                </a:lnTo>
                <a:lnTo>
                  <a:pt x="490844" y="1761142"/>
                </a:lnTo>
                <a:lnTo>
                  <a:pt x="531248" y="1781864"/>
                </a:lnTo>
                <a:lnTo>
                  <a:pt x="572751" y="1800658"/>
                </a:lnTo>
                <a:lnTo>
                  <a:pt x="615294" y="1817462"/>
                </a:lnTo>
                <a:lnTo>
                  <a:pt x="658816" y="1832218"/>
                </a:lnTo>
                <a:lnTo>
                  <a:pt x="703259" y="1844867"/>
                </a:lnTo>
                <a:lnTo>
                  <a:pt x="748564" y="1855350"/>
                </a:lnTo>
                <a:lnTo>
                  <a:pt x="794670" y="1863606"/>
                </a:lnTo>
                <a:lnTo>
                  <a:pt x="841519" y="1869576"/>
                </a:lnTo>
                <a:lnTo>
                  <a:pt x="889051" y="1873202"/>
                </a:lnTo>
                <a:lnTo>
                  <a:pt x="937207" y="1874424"/>
                </a:lnTo>
                <a:lnTo>
                  <a:pt x="985363" y="1873202"/>
                </a:lnTo>
                <a:lnTo>
                  <a:pt x="1032896" y="1869576"/>
                </a:lnTo>
                <a:lnTo>
                  <a:pt x="1079746" y="1863606"/>
                </a:lnTo>
                <a:lnTo>
                  <a:pt x="1125853" y="1855350"/>
                </a:lnTo>
                <a:lnTo>
                  <a:pt x="1171158" y="1844867"/>
                </a:lnTo>
                <a:lnTo>
                  <a:pt x="1215602" y="1832218"/>
                </a:lnTo>
                <a:lnTo>
                  <a:pt x="1259125" y="1817462"/>
                </a:lnTo>
                <a:lnTo>
                  <a:pt x="1301668" y="1800658"/>
                </a:lnTo>
                <a:lnTo>
                  <a:pt x="1343172" y="1781864"/>
                </a:lnTo>
                <a:lnTo>
                  <a:pt x="1383577" y="1761142"/>
                </a:lnTo>
                <a:lnTo>
                  <a:pt x="1422824" y="1738549"/>
                </a:lnTo>
                <a:lnTo>
                  <a:pt x="1436768" y="1729601"/>
                </a:lnTo>
                <a:lnTo>
                  <a:pt x="937207" y="1729601"/>
                </a:lnTo>
                <a:lnTo>
                  <a:pt x="889008" y="1728152"/>
                </a:lnTo>
                <a:lnTo>
                  <a:pt x="841564" y="1723862"/>
                </a:lnTo>
                <a:lnTo>
                  <a:pt x="794957" y="1716812"/>
                </a:lnTo>
                <a:lnTo>
                  <a:pt x="749271" y="1707088"/>
                </a:lnTo>
                <a:lnTo>
                  <a:pt x="704590" y="1694772"/>
                </a:lnTo>
                <a:lnTo>
                  <a:pt x="660997" y="1679948"/>
                </a:lnTo>
                <a:lnTo>
                  <a:pt x="618576" y="1662699"/>
                </a:lnTo>
                <a:lnTo>
                  <a:pt x="577410" y="1643110"/>
                </a:lnTo>
                <a:lnTo>
                  <a:pt x="537583" y="1621263"/>
                </a:lnTo>
                <a:lnTo>
                  <a:pt x="499178" y="1597243"/>
                </a:lnTo>
                <a:lnTo>
                  <a:pt x="462279" y="1571131"/>
                </a:lnTo>
                <a:lnTo>
                  <a:pt x="426969" y="1543013"/>
                </a:lnTo>
                <a:lnTo>
                  <a:pt x="393331" y="1512972"/>
                </a:lnTo>
                <a:lnTo>
                  <a:pt x="361450" y="1481091"/>
                </a:lnTo>
                <a:lnTo>
                  <a:pt x="331409" y="1447453"/>
                </a:lnTo>
                <a:lnTo>
                  <a:pt x="303291" y="1412143"/>
                </a:lnTo>
                <a:lnTo>
                  <a:pt x="277180" y="1375243"/>
                </a:lnTo>
                <a:lnTo>
                  <a:pt x="253160" y="1336838"/>
                </a:lnTo>
                <a:lnTo>
                  <a:pt x="231313" y="1297010"/>
                </a:lnTo>
                <a:lnTo>
                  <a:pt x="211724" y="1255843"/>
                </a:lnTo>
                <a:lnTo>
                  <a:pt x="194476" y="1213421"/>
                </a:lnTo>
                <a:lnTo>
                  <a:pt x="179652" y="1169828"/>
                </a:lnTo>
                <a:lnTo>
                  <a:pt x="167336" y="1125146"/>
                </a:lnTo>
                <a:lnTo>
                  <a:pt x="157673" y="1079746"/>
                </a:lnTo>
                <a:lnTo>
                  <a:pt x="157611" y="1079459"/>
                </a:lnTo>
                <a:lnTo>
                  <a:pt x="150569" y="1032896"/>
                </a:lnTo>
                <a:lnTo>
                  <a:pt x="146271" y="985406"/>
                </a:lnTo>
                <a:lnTo>
                  <a:pt x="144822" y="937207"/>
                </a:lnTo>
                <a:lnTo>
                  <a:pt x="146270" y="889051"/>
                </a:lnTo>
                <a:lnTo>
                  <a:pt x="150562" y="841564"/>
                </a:lnTo>
                <a:lnTo>
                  <a:pt x="157611" y="794957"/>
                </a:lnTo>
                <a:lnTo>
                  <a:pt x="167336" y="749271"/>
                </a:lnTo>
                <a:lnTo>
                  <a:pt x="179652" y="704590"/>
                </a:lnTo>
                <a:lnTo>
                  <a:pt x="194476" y="660997"/>
                </a:lnTo>
                <a:lnTo>
                  <a:pt x="211724" y="618576"/>
                </a:lnTo>
                <a:lnTo>
                  <a:pt x="231313" y="577410"/>
                </a:lnTo>
                <a:lnTo>
                  <a:pt x="253160" y="537583"/>
                </a:lnTo>
                <a:lnTo>
                  <a:pt x="277180" y="499178"/>
                </a:lnTo>
                <a:lnTo>
                  <a:pt x="303291" y="462279"/>
                </a:lnTo>
                <a:lnTo>
                  <a:pt x="331409" y="426969"/>
                </a:lnTo>
                <a:lnTo>
                  <a:pt x="361450" y="393331"/>
                </a:lnTo>
                <a:lnTo>
                  <a:pt x="393331" y="361450"/>
                </a:lnTo>
                <a:lnTo>
                  <a:pt x="426969" y="331409"/>
                </a:lnTo>
                <a:lnTo>
                  <a:pt x="462279" y="303291"/>
                </a:lnTo>
                <a:lnTo>
                  <a:pt x="499178" y="277180"/>
                </a:lnTo>
                <a:lnTo>
                  <a:pt x="537583" y="253160"/>
                </a:lnTo>
                <a:lnTo>
                  <a:pt x="577410" y="231313"/>
                </a:lnTo>
                <a:lnTo>
                  <a:pt x="618576" y="211724"/>
                </a:lnTo>
                <a:lnTo>
                  <a:pt x="660997" y="194476"/>
                </a:lnTo>
                <a:lnTo>
                  <a:pt x="704590" y="179652"/>
                </a:lnTo>
                <a:lnTo>
                  <a:pt x="749271" y="167336"/>
                </a:lnTo>
                <a:lnTo>
                  <a:pt x="794957" y="157611"/>
                </a:lnTo>
                <a:lnTo>
                  <a:pt x="841564" y="150562"/>
                </a:lnTo>
                <a:lnTo>
                  <a:pt x="889008" y="146271"/>
                </a:lnTo>
                <a:lnTo>
                  <a:pt x="937207" y="144822"/>
                </a:lnTo>
                <a:lnTo>
                  <a:pt x="1436768" y="144822"/>
                </a:lnTo>
                <a:lnTo>
                  <a:pt x="1422824" y="135874"/>
                </a:lnTo>
                <a:lnTo>
                  <a:pt x="1383577" y="113282"/>
                </a:lnTo>
                <a:lnTo>
                  <a:pt x="1343172" y="92559"/>
                </a:lnTo>
                <a:lnTo>
                  <a:pt x="1301668" y="73766"/>
                </a:lnTo>
                <a:lnTo>
                  <a:pt x="1259125" y="56962"/>
                </a:lnTo>
                <a:lnTo>
                  <a:pt x="1215602" y="42205"/>
                </a:lnTo>
                <a:lnTo>
                  <a:pt x="1171158" y="29556"/>
                </a:lnTo>
                <a:lnTo>
                  <a:pt x="1125853" y="19074"/>
                </a:lnTo>
                <a:lnTo>
                  <a:pt x="1079746" y="10818"/>
                </a:lnTo>
                <a:lnTo>
                  <a:pt x="1032896" y="4847"/>
                </a:lnTo>
                <a:lnTo>
                  <a:pt x="985363" y="1221"/>
                </a:lnTo>
                <a:lnTo>
                  <a:pt x="937207" y="0"/>
                </a:lnTo>
                <a:close/>
              </a:path>
              <a:path w="1874519" h="1874520">
                <a:moveTo>
                  <a:pt x="1436768" y="144822"/>
                </a:moveTo>
                <a:lnTo>
                  <a:pt x="937207" y="144822"/>
                </a:lnTo>
                <a:lnTo>
                  <a:pt x="985406" y="146271"/>
                </a:lnTo>
                <a:lnTo>
                  <a:pt x="1032852" y="150562"/>
                </a:lnTo>
                <a:lnTo>
                  <a:pt x="1079459" y="157611"/>
                </a:lnTo>
                <a:lnTo>
                  <a:pt x="1125146" y="167336"/>
                </a:lnTo>
                <a:lnTo>
                  <a:pt x="1169828" y="179652"/>
                </a:lnTo>
                <a:lnTo>
                  <a:pt x="1213421" y="194476"/>
                </a:lnTo>
                <a:lnTo>
                  <a:pt x="1255843" y="211724"/>
                </a:lnTo>
                <a:lnTo>
                  <a:pt x="1297010" y="231313"/>
                </a:lnTo>
                <a:lnTo>
                  <a:pt x="1336838" y="253160"/>
                </a:lnTo>
                <a:lnTo>
                  <a:pt x="1375243" y="277180"/>
                </a:lnTo>
                <a:lnTo>
                  <a:pt x="1412143" y="303291"/>
                </a:lnTo>
                <a:lnTo>
                  <a:pt x="1447453" y="331409"/>
                </a:lnTo>
                <a:lnTo>
                  <a:pt x="1481091" y="361450"/>
                </a:lnTo>
                <a:lnTo>
                  <a:pt x="1512972" y="393331"/>
                </a:lnTo>
                <a:lnTo>
                  <a:pt x="1543013" y="426969"/>
                </a:lnTo>
                <a:lnTo>
                  <a:pt x="1571131" y="462279"/>
                </a:lnTo>
                <a:lnTo>
                  <a:pt x="1597243" y="499178"/>
                </a:lnTo>
                <a:lnTo>
                  <a:pt x="1621263" y="537583"/>
                </a:lnTo>
                <a:lnTo>
                  <a:pt x="1643110" y="577410"/>
                </a:lnTo>
                <a:lnTo>
                  <a:pt x="1662699" y="618576"/>
                </a:lnTo>
                <a:lnTo>
                  <a:pt x="1679948" y="660997"/>
                </a:lnTo>
                <a:lnTo>
                  <a:pt x="1694772" y="704590"/>
                </a:lnTo>
                <a:lnTo>
                  <a:pt x="1707088" y="749271"/>
                </a:lnTo>
                <a:lnTo>
                  <a:pt x="1716751" y="794670"/>
                </a:lnTo>
                <a:lnTo>
                  <a:pt x="1723862" y="841564"/>
                </a:lnTo>
                <a:lnTo>
                  <a:pt x="1728154" y="889051"/>
                </a:lnTo>
                <a:lnTo>
                  <a:pt x="1729601" y="937207"/>
                </a:lnTo>
                <a:lnTo>
                  <a:pt x="1728152" y="985406"/>
                </a:lnTo>
                <a:lnTo>
                  <a:pt x="1723855" y="1032896"/>
                </a:lnTo>
                <a:lnTo>
                  <a:pt x="1716812" y="1079459"/>
                </a:lnTo>
                <a:lnTo>
                  <a:pt x="1707088" y="1125146"/>
                </a:lnTo>
                <a:lnTo>
                  <a:pt x="1694772" y="1169828"/>
                </a:lnTo>
                <a:lnTo>
                  <a:pt x="1679948" y="1213421"/>
                </a:lnTo>
                <a:lnTo>
                  <a:pt x="1662699" y="1255843"/>
                </a:lnTo>
                <a:lnTo>
                  <a:pt x="1643110" y="1297010"/>
                </a:lnTo>
                <a:lnTo>
                  <a:pt x="1621263" y="1336838"/>
                </a:lnTo>
                <a:lnTo>
                  <a:pt x="1597243" y="1375243"/>
                </a:lnTo>
                <a:lnTo>
                  <a:pt x="1571131" y="1412143"/>
                </a:lnTo>
                <a:lnTo>
                  <a:pt x="1543013" y="1447453"/>
                </a:lnTo>
                <a:lnTo>
                  <a:pt x="1512972" y="1481091"/>
                </a:lnTo>
                <a:lnTo>
                  <a:pt x="1481091" y="1512972"/>
                </a:lnTo>
                <a:lnTo>
                  <a:pt x="1447453" y="1543013"/>
                </a:lnTo>
                <a:lnTo>
                  <a:pt x="1412143" y="1571131"/>
                </a:lnTo>
                <a:lnTo>
                  <a:pt x="1375243" y="1597243"/>
                </a:lnTo>
                <a:lnTo>
                  <a:pt x="1336838" y="1621263"/>
                </a:lnTo>
                <a:lnTo>
                  <a:pt x="1297010" y="1643110"/>
                </a:lnTo>
                <a:lnTo>
                  <a:pt x="1255843" y="1662699"/>
                </a:lnTo>
                <a:lnTo>
                  <a:pt x="1213421" y="1679948"/>
                </a:lnTo>
                <a:lnTo>
                  <a:pt x="1169828" y="1694772"/>
                </a:lnTo>
                <a:lnTo>
                  <a:pt x="1125146" y="1707088"/>
                </a:lnTo>
                <a:lnTo>
                  <a:pt x="1079459" y="1716812"/>
                </a:lnTo>
                <a:lnTo>
                  <a:pt x="1032852" y="1723862"/>
                </a:lnTo>
                <a:lnTo>
                  <a:pt x="985406" y="1728152"/>
                </a:lnTo>
                <a:lnTo>
                  <a:pt x="937207" y="1729601"/>
                </a:lnTo>
                <a:lnTo>
                  <a:pt x="1436768" y="1729601"/>
                </a:lnTo>
                <a:lnTo>
                  <a:pt x="1497606" y="1687991"/>
                </a:lnTo>
                <a:lnTo>
                  <a:pt x="1533023" y="1660144"/>
                </a:lnTo>
                <a:lnTo>
                  <a:pt x="1567045" y="1630665"/>
                </a:lnTo>
                <a:lnTo>
                  <a:pt x="1599612" y="1599612"/>
                </a:lnTo>
                <a:lnTo>
                  <a:pt x="1630665" y="1567045"/>
                </a:lnTo>
                <a:lnTo>
                  <a:pt x="1660144" y="1533023"/>
                </a:lnTo>
                <a:lnTo>
                  <a:pt x="1687991" y="1497606"/>
                </a:lnTo>
                <a:lnTo>
                  <a:pt x="1714146" y="1460853"/>
                </a:lnTo>
                <a:lnTo>
                  <a:pt x="1738549" y="1422824"/>
                </a:lnTo>
                <a:lnTo>
                  <a:pt x="1761142" y="1383577"/>
                </a:lnTo>
                <a:lnTo>
                  <a:pt x="1781864" y="1343172"/>
                </a:lnTo>
                <a:lnTo>
                  <a:pt x="1800658" y="1301668"/>
                </a:lnTo>
                <a:lnTo>
                  <a:pt x="1817462" y="1259125"/>
                </a:lnTo>
                <a:lnTo>
                  <a:pt x="1832218" y="1215602"/>
                </a:lnTo>
                <a:lnTo>
                  <a:pt x="1844867" y="1171158"/>
                </a:lnTo>
                <a:lnTo>
                  <a:pt x="1855350" y="1125853"/>
                </a:lnTo>
                <a:lnTo>
                  <a:pt x="1863606" y="1079746"/>
                </a:lnTo>
                <a:lnTo>
                  <a:pt x="1869576" y="1032896"/>
                </a:lnTo>
                <a:lnTo>
                  <a:pt x="1873199" y="985406"/>
                </a:lnTo>
                <a:lnTo>
                  <a:pt x="1874424" y="937207"/>
                </a:lnTo>
                <a:lnTo>
                  <a:pt x="1873202" y="889051"/>
                </a:lnTo>
                <a:lnTo>
                  <a:pt x="1869580" y="841564"/>
                </a:lnTo>
                <a:lnTo>
                  <a:pt x="1863642" y="794957"/>
                </a:lnTo>
                <a:lnTo>
                  <a:pt x="1855476" y="749271"/>
                </a:lnTo>
                <a:lnTo>
                  <a:pt x="1844867" y="703259"/>
                </a:lnTo>
                <a:lnTo>
                  <a:pt x="1832218" y="658816"/>
                </a:lnTo>
                <a:lnTo>
                  <a:pt x="1817462" y="615294"/>
                </a:lnTo>
                <a:lnTo>
                  <a:pt x="1800658" y="572751"/>
                </a:lnTo>
                <a:lnTo>
                  <a:pt x="1781864" y="531248"/>
                </a:lnTo>
                <a:lnTo>
                  <a:pt x="1761142" y="490844"/>
                </a:lnTo>
                <a:lnTo>
                  <a:pt x="1738549" y="451597"/>
                </a:lnTo>
                <a:lnTo>
                  <a:pt x="1714146" y="413568"/>
                </a:lnTo>
                <a:lnTo>
                  <a:pt x="1687991" y="376815"/>
                </a:lnTo>
                <a:lnTo>
                  <a:pt x="1660144" y="341398"/>
                </a:lnTo>
                <a:lnTo>
                  <a:pt x="1630665" y="307377"/>
                </a:lnTo>
                <a:lnTo>
                  <a:pt x="1599612" y="274811"/>
                </a:lnTo>
                <a:lnTo>
                  <a:pt x="1567045" y="243758"/>
                </a:lnTo>
                <a:lnTo>
                  <a:pt x="1533023" y="214279"/>
                </a:lnTo>
                <a:lnTo>
                  <a:pt x="1497606" y="186432"/>
                </a:lnTo>
                <a:lnTo>
                  <a:pt x="1460853" y="160277"/>
                </a:lnTo>
                <a:lnTo>
                  <a:pt x="1436768" y="144822"/>
                </a:lnTo>
                <a:close/>
              </a:path>
            </a:pathLst>
          </a:custGeom>
          <a:solidFill>
            <a:srgbClr val="7EC8EE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4" name="bg object 2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-4" y="6996914"/>
            <a:ext cx="2099004" cy="3521693"/>
          </a:xfrm>
          <a:prstGeom prst="rect">
            <a:avLst/>
          </a:prstGeom>
        </p:spPr>
      </p:pic>
      <p:sp>
        <p:nvSpPr>
          <p:cNvPr id="25" name="bg object 25"/>
          <p:cNvSpPr/>
          <p:nvPr/>
        </p:nvSpPr>
        <p:spPr>
          <a:xfrm>
            <a:off x="4041013" y="5822356"/>
            <a:ext cx="12022455" cy="1030605"/>
          </a:xfrm>
          <a:custGeom>
            <a:avLst/>
            <a:gdLst/>
            <a:ahLst/>
            <a:cxnLst/>
            <a:rect l="l" t="t" r="r" b="b"/>
            <a:pathLst>
              <a:path w="12022455" h="1030604">
                <a:moveTo>
                  <a:pt x="11820467" y="0"/>
                </a:moveTo>
                <a:lnTo>
                  <a:pt x="201606" y="0"/>
                </a:lnTo>
                <a:lnTo>
                  <a:pt x="155378" y="5324"/>
                </a:lnTo>
                <a:lnTo>
                  <a:pt x="112943" y="20490"/>
                </a:lnTo>
                <a:lnTo>
                  <a:pt x="75510" y="44289"/>
                </a:lnTo>
                <a:lnTo>
                  <a:pt x="44289" y="75510"/>
                </a:lnTo>
                <a:lnTo>
                  <a:pt x="20490" y="112943"/>
                </a:lnTo>
                <a:lnTo>
                  <a:pt x="5324" y="155378"/>
                </a:lnTo>
                <a:lnTo>
                  <a:pt x="0" y="201606"/>
                </a:lnTo>
                <a:lnTo>
                  <a:pt x="0" y="828425"/>
                </a:lnTo>
                <a:lnTo>
                  <a:pt x="5324" y="874652"/>
                </a:lnTo>
                <a:lnTo>
                  <a:pt x="20490" y="917087"/>
                </a:lnTo>
                <a:lnTo>
                  <a:pt x="44289" y="954520"/>
                </a:lnTo>
                <a:lnTo>
                  <a:pt x="75510" y="985741"/>
                </a:lnTo>
                <a:lnTo>
                  <a:pt x="112943" y="1009540"/>
                </a:lnTo>
                <a:lnTo>
                  <a:pt x="155378" y="1024707"/>
                </a:lnTo>
                <a:lnTo>
                  <a:pt x="201606" y="1030031"/>
                </a:lnTo>
                <a:lnTo>
                  <a:pt x="11820467" y="1030031"/>
                </a:lnTo>
                <a:lnTo>
                  <a:pt x="11866694" y="1024707"/>
                </a:lnTo>
                <a:lnTo>
                  <a:pt x="11909130" y="1009540"/>
                </a:lnTo>
                <a:lnTo>
                  <a:pt x="11946563" y="985741"/>
                </a:lnTo>
                <a:lnTo>
                  <a:pt x="11977784" y="954520"/>
                </a:lnTo>
                <a:lnTo>
                  <a:pt x="12001582" y="917087"/>
                </a:lnTo>
                <a:lnTo>
                  <a:pt x="12016749" y="874652"/>
                </a:lnTo>
                <a:lnTo>
                  <a:pt x="12022073" y="828425"/>
                </a:lnTo>
                <a:lnTo>
                  <a:pt x="12022073" y="201606"/>
                </a:lnTo>
                <a:lnTo>
                  <a:pt x="12016749" y="155378"/>
                </a:lnTo>
                <a:lnTo>
                  <a:pt x="12001582" y="112943"/>
                </a:lnTo>
                <a:lnTo>
                  <a:pt x="11977784" y="75510"/>
                </a:lnTo>
                <a:lnTo>
                  <a:pt x="11946563" y="44289"/>
                </a:lnTo>
                <a:lnTo>
                  <a:pt x="11909130" y="20490"/>
                </a:lnTo>
                <a:lnTo>
                  <a:pt x="11866694" y="5324"/>
                </a:lnTo>
                <a:lnTo>
                  <a:pt x="11820467" y="0"/>
                </a:lnTo>
                <a:close/>
              </a:path>
            </a:pathLst>
          </a:custGeom>
          <a:solidFill>
            <a:srgbClr val="9CC93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0200" b="1" i="0">
                <a:solidFill>
                  <a:srgbClr val="2B3180"/>
                </a:solidFill>
                <a:latin typeface="Titillium"/>
                <a:cs typeface="Titilliu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0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305268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03006" y="0"/>
            <a:ext cx="687535" cy="1130935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6726939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de-DE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1038845" y="4421338"/>
            <a:ext cx="5157745" cy="246667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958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55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223702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11815786" y="0"/>
            <a:ext cx="687535" cy="113093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11826257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de-DE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de-DE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de-DE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38844" y="1027044"/>
            <a:ext cx="10349735" cy="5481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60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07094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14888851" y="0"/>
            <a:ext cx="687535" cy="1130935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14897138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38844" y="1027044"/>
            <a:ext cx="13359174" cy="5481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36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3583169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53439" y="0"/>
            <a:ext cx="687535" cy="1130935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1038845" y="4421338"/>
            <a:ext cx="5157745" cy="246667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958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6729009" y="-2158"/>
            <a:ext cx="13375092" cy="113115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950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0368000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9381884" y="0"/>
            <a:ext cx="687535" cy="1130935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0052050" y="0"/>
            <a:ext cx="10052050" cy="1130935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10045490" y="0"/>
            <a:ext cx="10058608" cy="1130935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968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38844" y="2944587"/>
            <a:ext cx="7236289" cy="5420177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725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31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3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2313036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12218533" y="0"/>
            <a:ext cx="687535" cy="1130935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2894102" y="0"/>
            <a:ext cx="7209999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2894896" y="0"/>
            <a:ext cx="7209205" cy="1130935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2638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1040387" y="2944587"/>
            <a:ext cx="10301953" cy="542017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725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31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4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6871163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2513" y="2160"/>
            <a:ext cx="6741456" cy="113093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1038844" y="4558376"/>
            <a:ext cx="4087171" cy="216739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958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5267" y="5920834"/>
            <a:ext cx="2251240" cy="5578755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8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8042737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2513" y="2160"/>
            <a:ext cx="6741456" cy="113093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038844" y="4558376"/>
            <a:ext cx="4087171" cy="2167396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649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3585894" y="5611516"/>
            <a:ext cx="4443392" cy="5708674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598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331435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31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2" y="0"/>
            <a:ext cx="8948765" cy="1130935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1038845" y="2944587"/>
            <a:ext cx="6698456" cy="542017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7256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4745" y="5597605"/>
            <a:ext cx="2141296" cy="5890286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615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676784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2" y="0"/>
            <a:ext cx="8948765" cy="1130935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1038845" y="2944587"/>
            <a:ext cx="6698456" cy="542017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7256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649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5900070" y="5633732"/>
            <a:ext cx="4443392" cy="5675618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017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0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9406579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10493222" cy="1130935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038844" y="1027044"/>
            <a:ext cx="7828961" cy="5481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0757" y="5919526"/>
            <a:ext cx="2251240" cy="5578755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244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258447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10493222" cy="1130935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038844" y="1027044"/>
            <a:ext cx="7828961" cy="5481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649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7354638" y="5619720"/>
            <a:ext cx="4443392" cy="5700109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530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9792821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13927496" cy="1130935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38844" y="1027044"/>
            <a:ext cx="10313403" cy="5481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1257" y="5919526"/>
            <a:ext cx="2251240" cy="5578755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876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3490069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13927496" cy="1130935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38844" y="1027044"/>
            <a:ext cx="10313403" cy="5481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649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10829745" y="5619720"/>
            <a:ext cx="4443392" cy="5700109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97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0338123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038844" y="6309907"/>
            <a:ext cx="18028391" cy="2649320"/>
          </a:xfrm>
        </p:spPr>
        <p:txBody>
          <a:bodyPr anchor="b">
            <a:noAutofit/>
          </a:bodyPr>
          <a:lstStyle>
            <a:lvl1pPr marL="0" algn="l" defTabSz="1507846" rtl="0" eaLnBrk="1" fontAlgn="auto" latinLnBrk="0" hangingPunct="1">
              <a:lnSpc>
                <a:spcPts val="9894"/>
              </a:lnSpc>
              <a:spcBef>
                <a:spcPts val="0"/>
              </a:spcBef>
              <a:spcAft>
                <a:spcPts val="0"/>
              </a:spcAft>
              <a:defRPr lang="en-US" sz="8905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5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658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9544840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1038844" y="1031454"/>
            <a:ext cx="1537964" cy="1538072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038844" y="6309907"/>
            <a:ext cx="18028391" cy="2649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507846" rtl="0" eaLnBrk="1" fontAlgn="auto" latinLnBrk="0" hangingPunct="1">
              <a:lnSpc>
                <a:spcPts val="9894"/>
              </a:lnSpc>
              <a:spcBef>
                <a:spcPts val="0"/>
              </a:spcBef>
              <a:spcAft>
                <a:spcPts val="0"/>
              </a:spcAft>
              <a:defRPr lang="en-US" sz="8905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15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8858526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11208686" y="167868"/>
            <a:ext cx="1268562" cy="16522267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20104100" cy="9675670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22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061209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8415356" y="10561317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38844" y="1027044"/>
            <a:ext cx="18028391" cy="54815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940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3625790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6741456" cy="113093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6741456" cy="113093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038844" y="4301731"/>
            <a:ext cx="4649073" cy="280422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1154"/>
              </a:spcAft>
              <a:buFontTx/>
              <a:buNone/>
            </a:pPr>
            <a:r>
              <a:rPr lang="en-US" sz="8905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6015" y="5914813"/>
            <a:ext cx="2251240" cy="5578755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743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2922552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90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5238312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61772" cy="261791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8905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B7E8C15-A8CF-4893-9B26-7D104DEBD2C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900"/>
                    </a14:imgEffect>
                    <a14:imgEffect>
                      <a14:saturation sat="400000"/>
                    </a14:imgEffect>
                    <a14:imgEffect>
                      <a14:brightnessContrast bright="-3000" contrast="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6B543DF8-6784-4D03-9466-8A669F15C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3481" y="4737805"/>
            <a:ext cx="16286724" cy="27407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8905" b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de-DE" dirty="0"/>
              <a:t>Main 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748F846-A005-4C09-8739-EBD0D92A500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842353" y="7730670"/>
            <a:ext cx="11605718" cy="61899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958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Document Nam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9AE514B0-F7FD-485F-A7E9-F772EAEA74F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842353" y="9569784"/>
            <a:ext cx="3488180" cy="3610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09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de-DE" dirty="0"/>
              <a:t>DATE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CA5ACC7E-489A-FE4E-B2BC-8ABEA30F192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934" y="1210200"/>
            <a:ext cx="4215600" cy="1451198"/>
          </a:xfrm>
          <a:prstGeom prst="rect">
            <a:avLst/>
          </a:prstGeom>
        </p:spPr>
      </p:pic>
      <p:sp>
        <p:nvSpPr>
          <p:cNvPr id="28" name="Arc 27">
            <a:extLst>
              <a:ext uri="{FF2B5EF4-FFF2-40B4-BE49-F238E27FC236}">
                <a16:creationId xmlns:a16="http://schemas.microsoft.com/office/drawing/2014/main" id="{54561E2A-26D7-464C-83D6-EC0EF0B323A4}"/>
              </a:ext>
            </a:extLst>
          </p:cNvPr>
          <p:cNvSpPr/>
          <p:nvPr userDrawn="1"/>
        </p:nvSpPr>
        <p:spPr>
          <a:xfrm rot="1437452" flipH="1">
            <a:off x="3553480" y="2770896"/>
            <a:ext cx="10537802" cy="10538541"/>
          </a:xfrm>
          <a:prstGeom prst="arc">
            <a:avLst>
              <a:gd name="adj1" fmla="val 6228299"/>
              <a:gd name="adj2" fmla="val 21295730"/>
            </a:avLst>
          </a:prstGeom>
          <a:noFill/>
          <a:ln w="12700" cap="rnd" cmpd="sng" algn="ctr">
            <a:gradFill>
              <a:gsLst>
                <a:gs pos="0">
                  <a:schemeClr val="accent4">
                    <a:alpha val="56000"/>
                  </a:schemeClr>
                </a:gs>
                <a:gs pos="99000">
                  <a:schemeClr val="accent1">
                    <a:lumMod val="45000"/>
                    <a:lumOff val="55000"/>
                    <a:alpha val="9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81" tIns="75390" rIns="150781" bIns="75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979" dirty="0" err="1">
              <a:solidFill>
                <a:srgbClr val="FFFFFF"/>
              </a:solidFill>
            </a:endParaRPr>
          </a:p>
        </p:txBody>
      </p:sp>
      <p:sp>
        <p:nvSpPr>
          <p:cNvPr id="29" name="Arc 28">
            <a:extLst>
              <a:ext uri="{FF2B5EF4-FFF2-40B4-BE49-F238E27FC236}">
                <a16:creationId xmlns:a16="http://schemas.microsoft.com/office/drawing/2014/main" id="{876803EB-E9C4-A845-A888-F2386C26D747}"/>
              </a:ext>
            </a:extLst>
          </p:cNvPr>
          <p:cNvSpPr/>
          <p:nvPr userDrawn="1"/>
        </p:nvSpPr>
        <p:spPr>
          <a:xfrm rot="2346172" flipH="1">
            <a:off x="3942286" y="3159729"/>
            <a:ext cx="9760189" cy="9760874"/>
          </a:xfrm>
          <a:prstGeom prst="arc">
            <a:avLst>
              <a:gd name="adj1" fmla="val 6228299"/>
              <a:gd name="adj2" fmla="val 14160661"/>
            </a:avLst>
          </a:prstGeom>
          <a:noFill/>
          <a:ln w="12700" cap="rnd" cmpd="sng" algn="ctr">
            <a:gradFill>
              <a:gsLst>
                <a:gs pos="0">
                  <a:schemeClr val="accent4">
                    <a:alpha val="56000"/>
                  </a:schemeClr>
                </a:gs>
                <a:gs pos="99000">
                  <a:schemeClr val="accent1">
                    <a:lumMod val="45000"/>
                    <a:lumOff val="55000"/>
                    <a:alpha val="1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81" tIns="75390" rIns="150781" bIns="75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979" dirty="0" err="1">
              <a:solidFill>
                <a:srgbClr val="FFFFFF"/>
              </a:solidFill>
            </a:endParaRPr>
          </a:p>
        </p:txBody>
      </p:sp>
      <p:sp>
        <p:nvSpPr>
          <p:cNvPr id="30" name="Arc 29">
            <a:extLst>
              <a:ext uri="{FF2B5EF4-FFF2-40B4-BE49-F238E27FC236}">
                <a16:creationId xmlns:a16="http://schemas.microsoft.com/office/drawing/2014/main" id="{2B8F0BDE-80D3-E14C-8CEC-3A2C6DE0BEA8}"/>
              </a:ext>
            </a:extLst>
          </p:cNvPr>
          <p:cNvSpPr/>
          <p:nvPr userDrawn="1"/>
        </p:nvSpPr>
        <p:spPr>
          <a:xfrm rot="2346172" flipH="1">
            <a:off x="4285954" y="3503421"/>
            <a:ext cx="9072854" cy="9073491"/>
          </a:xfrm>
          <a:prstGeom prst="arc">
            <a:avLst>
              <a:gd name="adj1" fmla="val 6228299"/>
              <a:gd name="adj2" fmla="val 16707093"/>
            </a:avLst>
          </a:prstGeom>
          <a:noFill/>
          <a:ln w="12700" cap="rnd" cmpd="sng" algn="ctr">
            <a:gradFill>
              <a:gsLst>
                <a:gs pos="0">
                  <a:schemeClr val="accent4">
                    <a:alpha val="78000"/>
                  </a:schemeClr>
                </a:gs>
                <a:gs pos="99000">
                  <a:schemeClr val="accent1">
                    <a:lumMod val="45000"/>
                    <a:lumOff val="55000"/>
                    <a:alpha val="1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81" tIns="75390" rIns="150781" bIns="75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979" dirty="0" err="1">
              <a:solidFill>
                <a:srgbClr val="FFFFFF"/>
              </a:solidFill>
            </a:endParaRPr>
          </a:p>
        </p:txBody>
      </p:sp>
      <p:sp>
        <p:nvSpPr>
          <p:cNvPr id="31" name="Arc 30">
            <a:extLst>
              <a:ext uri="{FF2B5EF4-FFF2-40B4-BE49-F238E27FC236}">
                <a16:creationId xmlns:a16="http://schemas.microsoft.com/office/drawing/2014/main" id="{F56A2A27-642C-F841-84DB-8EE6B8DB3A97}"/>
              </a:ext>
            </a:extLst>
          </p:cNvPr>
          <p:cNvSpPr/>
          <p:nvPr userDrawn="1"/>
        </p:nvSpPr>
        <p:spPr>
          <a:xfrm rot="2346172" flipH="1">
            <a:off x="4691474" y="3908972"/>
            <a:ext cx="8261809" cy="8262389"/>
          </a:xfrm>
          <a:prstGeom prst="arc">
            <a:avLst>
              <a:gd name="adj1" fmla="val 6228299"/>
              <a:gd name="adj2" fmla="val 11675915"/>
            </a:avLst>
          </a:prstGeom>
          <a:noFill/>
          <a:ln w="12700" cap="rnd" cmpd="sng" algn="ctr">
            <a:gradFill>
              <a:gsLst>
                <a:gs pos="0">
                  <a:schemeClr val="accent4">
                    <a:alpha val="56000"/>
                  </a:schemeClr>
                </a:gs>
                <a:gs pos="99000">
                  <a:schemeClr val="accent1">
                    <a:lumMod val="45000"/>
                    <a:lumOff val="55000"/>
                    <a:alpha val="1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81" tIns="75390" rIns="150781" bIns="75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979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460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6023002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63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0947574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03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9174141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E012FF1C-1E59-4BF6-B07F-181B95024F3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00"/>
                    </a14:imgEffect>
                    <a14:imgEffect>
                      <a14:saturation sat="400000"/>
                    </a14:imgEffect>
                    <a14:imgEffect>
                      <a14:brightnessContrast bright="-3000" contrast="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FF02D95-49F0-4415-AF67-7D05707C62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t="34345" b="36622"/>
          <a:stretch/>
        </p:blipFill>
        <p:spPr>
          <a:xfrm>
            <a:off x="289677" y="10553681"/>
            <a:ext cx="1542482" cy="44786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FD1BFE7-C853-4DC8-89FB-A08264D36D5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0634" y="4762646"/>
            <a:ext cx="2882833" cy="102554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58F15DD-C516-41D0-8292-709CEA189BFB}"/>
              </a:ext>
            </a:extLst>
          </p:cNvPr>
          <p:cNvSpPr/>
          <p:nvPr userDrawn="1"/>
        </p:nvSpPr>
        <p:spPr>
          <a:xfrm>
            <a:off x="9470003" y="5926310"/>
            <a:ext cx="11641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10651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3175914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989" y="-1"/>
            <a:ext cx="20107068" cy="11309352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968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649"/>
                </a:spcAft>
              </a:pPr>
              <a:endParaRPr lang="en-US" sz="1979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1"/>
              <a:ext cx="9030914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150784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4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150784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4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150784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4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</p:spTree>
    <p:extLst>
      <p:ext uri="{BB962C8B-B14F-4D97-AF65-F5344CB8AC3E}">
        <p14:creationId xmlns:p14="http://schemas.microsoft.com/office/powerpoint/2010/main" val="56673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2527118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8415356" y="10561317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2288994" y="7736115"/>
            <a:ext cx="1532438" cy="164227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3298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4138031" y="7736115"/>
            <a:ext cx="2589115" cy="2421131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01562" tIns="296813" rIns="301562" bIns="301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979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038844" y="1496037"/>
            <a:ext cx="5686928" cy="56546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1009163" tIns="771713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endParaRPr lang="en-US" sz="8905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924286" y="1839403"/>
            <a:ext cx="3914854" cy="1394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90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02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2606365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8415356" y="10561317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2118487" y="2355094"/>
            <a:ext cx="1562672" cy="156278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2119241" y="4399070"/>
            <a:ext cx="15861660" cy="527769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3298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533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8590840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8415356" y="10561317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1038844" y="1027044"/>
            <a:ext cx="11856007" cy="7765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5607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1020537" y="1988783"/>
            <a:ext cx="19088843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32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788810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53439" y="0"/>
            <a:ext cx="687535" cy="1130935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6729009" y="-2158"/>
            <a:ext cx="13375092" cy="113115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038845" y="5289760"/>
            <a:ext cx="2551174" cy="7309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5277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4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0170811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2288994" y="7736115"/>
            <a:ext cx="1532438" cy="164227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3298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4138031" y="7736115"/>
            <a:ext cx="2589115" cy="2421131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01562" tIns="296813" rIns="301562" bIns="301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979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38844" y="1496035"/>
            <a:ext cx="5686928" cy="5654675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1009163" tIns="771713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endParaRPr lang="en-US" sz="8905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924286" y="1839403"/>
            <a:ext cx="3914854" cy="1394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8905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867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8377476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2118487" y="2355094"/>
            <a:ext cx="1562672" cy="1562781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2119241" y="4399070"/>
            <a:ext cx="15861660" cy="5277697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3298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38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255071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038844" y="1027043"/>
            <a:ext cx="18028391" cy="77654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7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714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4025882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1038844" y="1027044"/>
            <a:ext cx="11856007" cy="7765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5607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1020537" y="1988783"/>
            <a:ext cx="19088843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526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634330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053439" y="0"/>
            <a:ext cx="687535" cy="1130935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6729009" y="-2158"/>
            <a:ext cx="13375092" cy="113115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038845" y="5379519"/>
            <a:ext cx="1914518" cy="54816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3958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>
            <a:lum bright="100000"/>
          </a:blip>
          <a:srcRect l="58551" r="1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8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0178139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6741456" cy="113093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6741456" cy="113093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038844" y="4301731"/>
            <a:ext cx="4649073" cy="280422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1154"/>
              </a:spcAft>
              <a:buFontTx/>
              <a:buNone/>
            </a:pPr>
            <a:r>
              <a:rPr lang="en-US" sz="8905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6015" y="5914813"/>
            <a:ext cx="2251240" cy="5578755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5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3807889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8844" y="1027043"/>
            <a:ext cx="18028639" cy="776546"/>
          </a:xfrm>
        </p:spPr>
        <p:txBody>
          <a:bodyPr/>
          <a:lstStyle>
            <a:lvl1pPr>
              <a:defRPr sz="5607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854" y="3439356"/>
            <a:ext cx="18029382" cy="674328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98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98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98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617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617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</p:spTree>
    <p:extLst>
      <p:ext uri="{BB962C8B-B14F-4D97-AF65-F5344CB8AC3E}">
        <p14:creationId xmlns:p14="http://schemas.microsoft.com/office/powerpoint/2010/main" val="2588321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9030302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2" y="-2158"/>
            <a:ext cx="7740870" cy="113115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81" tIns="75390" rIns="150781" bIns="753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649"/>
              </a:spcAft>
            </a:pPr>
            <a:endParaRPr lang="en-US" sz="1979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038844" y="2546622"/>
            <a:ext cx="5692864" cy="2466675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5277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de-DE" sz="1154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ensivity: Conﬁdena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5"/>
          <a:srcRect l="58552"/>
          <a:stretch/>
        </p:blipFill>
        <p:spPr>
          <a:xfrm>
            <a:off x="190513" y="10833780"/>
            <a:ext cx="948774" cy="38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951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26.xml"/><Relationship Id="rId42" Type="http://schemas.openxmlformats.org/officeDocument/2006/relationships/slideLayout" Target="../slideLayouts/slideLayout47.xml"/><Relationship Id="rId47" Type="http://schemas.openxmlformats.org/officeDocument/2006/relationships/slideLayout" Target="../slideLayouts/slideLayout52.xml"/><Relationship Id="rId63" Type="http://schemas.openxmlformats.org/officeDocument/2006/relationships/slideLayout" Target="../slideLayouts/slideLayout68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12.xml"/><Relationship Id="rId71" Type="http://schemas.openxmlformats.org/officeDocument/2006/relationships/image" Target="../media/image7.emf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9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40" Type="http://schemas.openxmlformats.org/officeDocument/2006/relationships/slideLayout" Target="../slideLayouts/slideLayout45.xml"/><Relationship Id="rId45" Type="http://schemas.openxmlformats.org/officeDocument/2006/relationships/slideLayout" Target="../slideLayouts/slideLayout50.xml"/><Relationship Id="rId53" Type="http://schemas.openxmlformats.org/officeDocument/2006/relationships/slideLayout" Target="../slideLayouts/slideLayout58.xml"/><Relationship Id="rId58" Type="http://schemas.openxmlformats.org/officeDocument/2006/relationships/slideLayout" Target="../slideLayouts/slideLayout63.xml"/><Relationship Id="rId66" Type="http://schemas.openxmlformats.org/officeDocument/2006/relationships/slideLayout" Target="../slideLayouts/slideLayout71.xml"/><Relationship Id="rId5" Type="http://schemas.openxmlformats.org/officeDocument/2006/relationships/slideLayout" Target="../slideLayouts/slideLayout10.xml"/><Relationship Id="rId61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48.xml"/><Relationship Id="rId48" Type="http://schemas.openxmlformats.org/officeDocument/2006/relationships/slideLayout" Target="../slideLayouts/slideLayout53.xml"/><Relationship Id="rId56" Type="http://schemas.openxmlformats.org/officeDocument/2006/relationships/slideLayout" Target="../slideLayouts/slideLayout61.xml"/><Relationship Id="rId64" Type="http://schemas.openxmlformats.org/officeDocument/2006/relationships/slideLayout" Target="../slideLayouts/slideLayout69.xml"/><Relationship Id="rId69" Type="http://schemas.openxmlformats.org/officeDocument/2006/relationships/tags" Target="../tags/tag1.xml"/><Relationship Id="rId8" Type="http://schemas.openxmlformats.org/officeDocument/2006/relationships/slideLayout" Target="../slideLayouts/slideLayout13.xml"/><Relationship Id="rId51" Type="http://schemas.openxmlformats.org/officeDocument/2006/relationships/slideLayout" Target="../slideLayouts/slideLayout56.xml"/><Relationship Id="rId3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43.xml"/><Relationship Id="rId46" Type="http://schemas.openxmlformats.org/officeDocument/2006/relationships/slideLayout" Target="../slideLayouts/slideLayout51.xml"/><Relationship Id="rId59" Type="http://schemas.openxmlformats.org/officeDocument/2006/relationships/slideLayout" Target="../slideLayouts/slideLayout64.xml"/><Relationship Id="rId67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25.xml"/><Relationship Id="rId41" Type="http://schemas.openxmlformats.org/officeDocument/2006/relationships/slideLayout" Target="../slideLayouts/slideLayout46.xml"/><Relationship Id="rId54" Type="http://schemas.openxmlformats.org/officeDocument/2006/relationships/slideLayout" Target="../slideLayouts/slideLayout59.xml"/><Relationship Id="rId62" Type="http://schemas.openxmlformats.org/officeDocument/2006/relationships/slideLayout" Target="../slideLayouts/slideLayout67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49" Type="http://schemas.openxmlformats.org/officeDocument/2006/relationships/slideLayout" Target="../slideLayouts/slideLayout54.xml"/><Relationship Id="rId57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15.xml"/><Relationship Id="rId31" Type="http://schemas.openxmlformats.org/officeDocument/2006/relationships/slideLayout" Target="../slideLayouts/slideLayout36.xml"/><Relationship Id="rId44" Type="http://schemas.openxmlformats.org/officeDocument/2006/relationships/slideLayout" Target="../slideLayouts/slideLayout49.xml"/><Relationship Id="rId52" Type="http://schemas.openxmlformats.org/officeDocument/2006/relationships/slideLayout" Target="../slideLayouts/slideLayout57.xml"/><Relationship Id="rId60" Type="http://schemas.openxmlformats.org/officeDocument/2006/relationships/slideLayout" Target="../slideLayouts/slideLayout65.xml"/><Relationship Id="rId65" Type="http://schemas.openxmlformats.org/officeDocument/2006/relationships/slideLayout" Target="../slideLayouts/slideLayout70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9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5.xml"/><Relationship Id="rId55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7237589" y="8424413"/>
            <a:ext cx="2867025" cy="2884170"/>
          </a:xfrm>
          <a:custGeom>
            <a:avLst/>
            <a:gdLst/>
            <a:ahLst/>
            <a:cxnLst/>
            <a:rect l="l" t="t" r="r" b="b"/>
            <a:pathLst>
              <a:path w="2867025" h="2884170">
                <a:moveTo>
                  <a:pt x="2863211" y="0"/>
                </a:moveTo>
                <a:lnTo>
                  <a:pt x="2814724" y="577"/>
                </a:lnTo>
                <a:lnTo>
                  <a:pt x="2766433" y="1951"/>
                </a:lnTo>
                <a:lnTo>
                  <a:pt x="2718346" y="4116"/>
                </a:lnTo>
                <a:lnTo>
                  <a:pt x="2670469" y="7065"/>
                </a:lnTo>
                <a:lnTo>
                  <a:pt x="2622807" y="10792"/>
                </a:lnTo>
                <a:lnTo>
                  <a:pt x="2575366" y="15290"/>
                </a:lnTo>
                <a:lnTo>
                  <a:pt x="2528155" y="20554"/>
                </a:lnTo>
                <a:lnTo>
                  <a:pt x="2481177" y="26576"/>
                </a:lnTo>
                <a:lnTo>
                  <a:pt x="2434441" y="33352"/>
                </a:lnTo>
                <a:lnTo>
                  <a:pt x="2387951" y="40873"/>
                </a:lnTo>
                <a:lnTo>
                  <a:pt x="2341715" y="49135"/>
                </a:lnTo>
                <a:lnTo>
                  <a:pt x="2295738" y="58130"/>
                </a:lnTo>
                <a:lnTo>
                  <a:pt x="2250027" y="67853"/>
                </a:lnTo>
                <a:lnTo>
                  <a:pt x="2204588" y="78296"/>
                </a:lnTo>
                <a:lnTo>
                  <a:pt x="2159427" y="89455"/>
                </a:lnTo>
                <a:lnTo>
                  <a:pt x="2114551" y="101322"/>
                </a:lnTo>
                <a:lnTo>
                  <a:pt x="2069966" y="113891"/>
                </a:lnTo>
                <a:lnTo>
                  <a:pt x="2025678" y="127156"/>
                </a:lnTo>
                <a:lnTo>
                  <a:pt x="1981693" y="141111"/>
                </a:lnTo>
                <a:lnTo>
                  <a:pt x="1938018" y="155749"/>
                </a:lnTo>
                <a:lnTo>
                  <a:pt x="1894659" y="171063"/>
                </a:lnTo>
                <a:lnTo>
                  <a:pt x="1851622" y="187049"/>
                </a:lnTo>
                <a:lnTo>
                  <a:pt x="1808913" y="203698"/>
                </a:lnTo>
                <a:lnTo>
                  <a:pt x="1766539" y="221006"/>
                </a:lnTo>
                <a:lnTo>
                  <a:pt x="1724506" y="238965"/>
                </a:lnTo>
                <a:lnTo>
                  <a:pt x="1682820" y="257570"/>
                </a:lnTo>
                <a:lnTo>
                  <a:pt x="1641488" y="276814"/>
                </a:lnTo>
                <a:lnTo>
                  <a:pt x="1600516" y="296690"/>
                </a:lnTo>
                <a:lnTo>
                  <a:pt x="1559909" y="317193"/>
                </a:lnTo>
                <a:lnTo>
                  <a:pt x="1519675" y="338317"/>
                </a:lnTo>
                <a:lnTo>
                  <a:pt x="1479819" y="360053"/>
                </a:lnTo>
                <a:lnTo>
                  <a:pt x="1440349" y="382398"/>
                </a:lnTo>
                <a:lnTo>
                  <a:pt x="1401269" y="405344"/>
                </a:lnTo>
                <a:lnTo>
                  <a:pt x="1362586" y="428884"/>
                </a:lnTo>
                <a:lnTo>
                  <a:pt x="1324308" y="453013"/>
                </a:lnTo>
                <a:lnTo>
                  <a:pt x="1286439" y="477725"/>
                </a:lnTo>
                <a:lnTo>
                  <a:pt x="1248986" y="503012"/>
                </a:lnTo>
                <a:lnTo>
                  <a:pt x="1211955" y="528869"/>
                </a:lnTo>
                <a:lnTo>
                  <a:pt x="1175354" y="555290"/>
                </a:lnTo>
                <a:lnTo>
                  <a:pt x="1139187" y="582267"/>
                </a:lnTo>
                <a:lnTo>
                  <a:pt x="1103461" y="609795"/>
                </a:lnTo>
                <a:lnTo>
                  <a:pt x="1068183" y="637868"/>
                </a:lnTo>
                <a:lnTo>
                  <a:pt x="1033358" y="666479"/>
                </a:lnTo>
                <a:lnTo>
                  <a:pt x="998994" y="695621"/>
                </a:lnTo>
                <a:lnTo>
                  <a:pt x="965095" y="725289"/>
                </a:lnTo>
                <a:lnTo>
                  <a:pt x="931669" y="755477"/>
                </a:lnTo>
                <a:lnTo>
                  <a:pt x="898722" y="786177"/>
                </a:lnTo>
                <a:lnTo>
                  <a:pt x="866260" y="817383"/>
                </a:lnTo>
                <a:lnTo>
                  <a:pt x="834290" y="849090"/>
                </a:lnTo>
                <a:lnTo>
                  <a:pt x="802816" y="881291"/>
                </a:lnTo>
                <a:lnTo>
                  <a:pt x="771847" y="913979"/>
                </a:lnTo>
                <a:lnTo>
                  <a:pt x="741388" y="947149"/>
                </a:lnTo>
                <a:lnTo>
                  <a:pt x="711445" y="980794"/>
                </a:lnTo>
                <a:lnTo>
                  <a:pt x="682024" y="1014908"/>
                </a:lnTo>
                <a:lnTo>
                  <a:pt x="653133" y="1049484"/>
                </a:lnTo>
                <a:lnTo>
                  <a:pt x="624777" y="1084516"/>
                </a:lnTo>
                <a:lnTo>
                  <a:pt x="596962" y="1119997"/>
                </a:lnTo>
                <a:lnTo>
                  <a:pt x="569694" y="1155923"/>
                </a:lnTo>
                <a:lnTo>
                  <a:pt x="542981" y="1192285"/>
                </a:lnTo>
                <a:lnTo>
                  <a:pt x="516828" y="1229078"/>
                </a:lnTo>
                <a:lnTo>
                  <a:pt x="491241" y="1266296"/>
                </a:lnTo>
                <a:lnTo>
                  <a:pt x="466227" y="1303932"/>
                </a:lnTo>
                <a:lnTo>
                  <a:pt x="441792" y="1341980"/>
                </a:lnTo>
                <a:lnTo>
                  <a:pt x="417943" y="1380434"/>
                </a:lnTo>
                <a:lnTo>
                  <a:pt x="394685" y="1419286"/>
                </a:lnTo>
                <a:lnTo>
                  <a:pt x="372024" y="1458532"/>
                </a:lnTo>
                <a:lnTo>
                  <a:pt x="349968" y="1498165"/>
                </a:lnTo>
                <a:lnTo>
                  <a:pt x="328522" y="1538178"/>
                </a:lnTo>
                <a:lnTo>
                  <a:pt x="307692" y="1578565"/>
                </a:lnTo>
                <a:lnTo>
                  <a:pt x="287485" y="1619319"/>
                </a:lnTo>
                <a:lnTo>
                  <a:pt x="267908" y="1660436"/>
                </a:lnTo>
                <a:lnTo>
                  <a:pt x="248966" y="1701907"/>
                </a:lnTo>
                <a:lnTo>
                  <a:pt x="230665" y="1743727"/>
                </a:lnTo>
                <a:lnTo>
                  <a:pt x="213012" y="1785890"/>
                </a:lnTo>
                <a:lnTo>
                  <a:pt x="196014" y="1828389"/>
                </a:lnTo>
                <a:lnTo>
                  <a:pt x="179676" y="1871217"/>
                </a:lnTo>
                <a:lnTo>
                  <a:pt x="164004" y="1914370"/>
                </a:lnTo>
                <a:lnTo>
                  <a:pt x="149006" y="1957839"/>
                </a:lnTo>
                <a:lnTo>
                  <a:pt x="134686" y="2001620"/>
                </a:lnTo>
                <a:lnTo>
                  <a:pt x="121052" y="2045705"/>
                </a:lnTo>
                <a:lnTo>
                  <a:pt x="108110" y="2090089"/>
                </a:lnTo>
                <a:lnTo>
                  <a:pt x="95866" y="2134764"/>
                </a:lnTo>
                <a:lnTo>
                  <a:pt x="84326" y="2179725"/>
                </a:lnTo>
                <a:lnTo>
                  <a:pt x="73497" y="2224966"/>
                </a:lnTo>
                <a:lnTo>
                  <a:pt x="63385" y="2270480"/>
                </a:lnTo>
                <a:lnTo>
                  <a:pt x="53995" y="2316261"/>
                </a:lnTo>
                <a:lnTo>
                  <a:pt x="45335" y="2362302"/>
                </a:lnTo>
                <a:lnTo>
                  <a:pt x="37410" y="2408597"/>
                </a:lnTo>
                <a:lnTo>
                  <a:pt x="30228" y="2455140"/>
                </a:lnTo>
                <a:lnTo>
                  <a:pt x="23793" y="2501925"/>
                </a:lnTo>
                <a:lnTo>
                  <a:pt x="18113" y="2548945"/>
                </a:lnTo>
                <a:lnTo>
                  <a:pt x="13193" y="2596194"/>
                </a:lnTo>
                <a:lnTo>
                  <a:pt x="9040" y="2643666"/>
                </a:lnTo>
                <a:lnTo>
                  <a:pt x="5661" y="2691353"/>
                </a:lnTo>
                <a:lnTo>
                  <a:pt x="3061" y="2739251"/>
                </a:lnTo>
                <a:lnTo>
                  <a:pt x="1246" y="2787353"/>
                </a:lnTo>
                <a:lnTo>
                  <a:pt x="224" y="2835652"/>
                </a:lnTo>
                <a:lnTo>
                  <a:pt x="0" y="2884142"/>
                </a:lnTo>
                <a:lnTo>
                  <a:pt x="901993" y="2880833"/>
                </a:lnTo>
                <a:lnTo>
                  <a:pt x="902403" y="2832213"/>
                </a:lnTo>
                <a:lnTo>
                  <a:pt x="903981" y="2783877"/>
                </a:lnTo>
                <a:lnTo>
                  <a:pt x="906712" y="2735839"/>
                </a:lnTo>
                <a:lnTo>
                  <a:pt x="910584" y="2688114"/>
                </a:lnTo>
                <a:lnTo>
                  <a:pt x="915584" y="2640714"/>
                </a:lnTo>
                <a:lnTo>
                  <a:pt x="921697" y="2593653"/>
                </a:lnTo>
                <a:lnTo>
                  <a:pt x="928910" y="2546945"/>
                </a:lnTo>
                <a:lnTo>
                  <a:pt x="937210" y="2500602"/>
                </a:lnTo>
                <a:lnTo>
                  <a:pt x="946583" y="2454640"/>
                </a:lnTo>
                <a:lnTo>
                  <a:pt x="957016" y="2409070"/>
                </a:lnTo>
                <a:lnTo>
                  <a:pt x="968496" y="2363908"/>
                </a:lnTo>
                <a:lnTo>
                  <a:pt x="981009" y="2319166"/>
                </a:lnTo>
                <a:lnTo>
                  <a:pt x="994541" y="2274857"/>
                </a:lnTo>
                <a:lnTo>
                  <a:pt x="1009079" y="2230996"/>
                </a:lnTo>
                <a:lnTo>
                  <a:pt x="1024610" y="2187596"/>
                </a:lnTo>
                <a:lnTo>
                  <a:pt x="1041121" y="2144670"/>
                </a:lnTo>
                <a:lnTo>
                  <a:pt x="1058597" y="2102233"/>
                </a:lnTo>
                <a:lnTo>
                  <a:pt x="1077025" y="2060296"/>
                </a:lnTo>
                <a:lnTo>
                  <a:pt x="1096392" y="2018876"/>
                </a:lnTo>
                <a:lnTo>
                  <a:pt x="1116684" y="1977983"/>
                </a:lnTo>
                <a:lnTo>
                  <a:pt x="1137889" y="1937633"/>
                </a:lnTo>
                <a:lnTo>
                  <a:pt x="1159992" y="1897839"/>
                </a:lnTo>
                <a:lnTo>
                  <a:pt x="1182980" y="1858614"/>
                </a:lnTo>
                <a:lnTo>
                  <a:pt x="1206839" y="1819972"/>
                </a:lnTo>
                <a:lnTo>
                  <a:pt x="1231557" y="1781926"/>
                </a:lnTo>
                <a:lnTo>
                  <a:pt x="1257120" y="1744490"/>
                </a:lnTo>
                <a:lnTo>
                  <a:pt x="1283513" y="1707678"/>
                </a:lnTo>
                <a:lnTo>
                  <a:pt x="1310725" y="1671502"/>
                </a:lnTo>
                <a:lnTo>
                  <a:pt x="1338741" y="1635978"/>
                </a:lnTo>
                <a:lnTo>
                  <a:pt x="1367548" y="1601117"/>
                </a:lnTo>
                <a:lnTo>
                  <a:pt x="1397132" y="1566934"/>
                </a:lnTo>
                <a:lnTo>
                  <a:pt x="1427481" y="1533442"/>
                </a:lnTo>
                <a:lnTo>
                  <a:pt x="1458579" y="1500655"/>
                </a:lnTo>
                <a:lnTo>
                  <a:pt x="1490416" y="1468586"/>
                </a:lnTo>
                <a:lnTo>
                  <a:pt x="1522975" y="1437250"/>
                </a:lnTo>
                <a:lnTo>
                  <a:pt x="1556245" y="1406658"/>
                </a:lnTo>
                <a:lnTo>
                  <a:pt x="1590212" y="1376826"/>
                </a:lnTo>
                <a:lnTo>
                  <a:pt x="1624862" y="1347766"/>
                </a:lnTo>
                <a:lnTo>
                  <a:pt x="1660182" y="1319492"/>
                </a:lnTo>
                <a:lnTo>
                  <a:pt x="1696158" y="1292017"/>
                </a:lnTo>
                <a:lnTo>
                  <a:pt x="1732778" y="1265356"/>
                </a:lnTo>
                <a:lnTo>
                  <a:pt x="1770026" y="1239521"/>
                </a:lnTo>
                <a:lnTo>
                  <a:pt x="1807891" y="1214527"/>
                </a:lnTo>
                <a:lnTo>
                  <a:pt x="1846359" y="1190386"/>
                </a:lnTo>
                <a:lnTo>
                  <a:pt x="1885416" y="1167113"/>
                </a:lnTo>
                <a:lnTo>
                  <a:pt x="1925048" y="1144720"/>
                </a:lnTo>
                <a:lnTo>
                  <a:pt x="1965243" y="1123222"/>
                </a:lnTo>
                <a:lnTo>
                  <a:pt x="2005987" y="1102632"/>
                </a:lnTo>
                <a:lnTo>
                  <a:pt x="2047266" y="1082963"/>
                </a:lnTo>
                <a:lnTo>
                  <a:pt x="2089067" y="1064229"/>
                </a:lnTo>
                <a:lnTo>
                  <a:pt x="2131376" y="1046444"/>
                </a:lnTo>
                <a:lnTo>
                  <a:pt x="2174181" y="1029621"/>
                </a:lnTo>
                <a:lnTo>
                  <a:pt x="2217467" y="1013774"/>
                </a:lnTo>
                <a:lnTo>
                  <a:pt x="2261221" y="998915"/>
                </a:lnTo>
                <a:lnTo>
                  <a:pt x="2305430" y="985060"/>
                </a:lnTo>
                <a:lnTo>
                  <a:pt x="2350080" y="972221"/>
                </a:lnTo>
                <a:lnTo>
                  <a:pt x="2395158" y="960412"/>
                </a:lnTo>
                <a:lnTo>
                  <a:pt x="2440651" y="949646"/>
                </a:lnTo>
                <a:lnTo>
                  <a:pt x="2486544" y="939937"/>
                </a:lnTo>
                <a:lnTo>
                  <a:pt x="2532825" y="931298"/>
                </a:lnTo>
                <a:lnTo>
                  <a:pt x="2579480" y="923744"/>
                </a:lnTo>
                <a:lnTo>
                  <a:pt x="2626495" y="917287"/>
                </a:lnTo>
                <a:lnTo>
                  <a:pt x="2673857" y="911941"/>
                </a:lnTo>
                <a:lnTo>
                  <a:pt x="2721553" y="907720"/>
                </a:lnTo>
                <a:lnTo>
                  <a:pt x="2769570" y="904638"/>
                </a:lnTo>
                <a:lnTo>
                  <a:pt x="2817893" y="902706"/>
                </a:lnTo>
                <a:lnTo>
                  <a:pt x="2866509" y="901941"/>
                </a:lnTo>
                <a:lnTo>
                  <a:pt x="2863211" y="0"/>
                </a:lnTo>
                <a:close/>
              </a:path>
            </a:pathLst>
          </a:custGeom>
          <a:solidFill>
            <a:srgbClr val="9CC93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96597" y="2431705"/>
            <a:ext cx="243090" cy="243854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997937" y="2177162"/>
            <a:ext cx="244373" cy="246568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698282" y="1706817"/>
            <a:ext cx="245667" cy="248568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2240475" y="1061960"/>
            <a:ext cx="246008" cy="248553"/>
          </a:xfrm>
          <a:prstGeom prst="rect">
            <a:avLst/>
          </a:prstGeom>
        </p:spPr>
      </p:pic>
      <p:pic>
        <p:nvPicPr>
          <p:cNvPr id="21" name="bg object 21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2581322" y="294489"/>
            <a:ext cx="243966" cy="244707"/>
          </a:xfrm>
          <a:prstGeom prst="rect">
            <a:avLst/>
          </a:prstGeom>
        </p:spPr>
      </p:pic>
      <p:sp>
        <p:nvSpPr>
          <p:cNvPr id="22" name="bg object 22"/>
          <p:cNvSpPr/>
          <p:nvPr/>
        </p:nvSpPr>
        <p:spPr>
          <a:xfrm>
            <a:off x="18403448" y="0"/>
            <a:ext cx="1701164" cy="1923414"/>
          </a:xfrm>
          <a:custGeom>
            <a:avLst/>
            <a:gdLst/>
            <a:ahLst/>
            <a:cxnLst/>
            <a:rect l="l" t="t" r="r" b="b"/>
            <a:pathLst>
              <a:path w="1701165" h="1923414">
                <a:moveTo>
                  <a:pt x="1035897" y="0"/>
                </a:moveTo>
                <a:lnTo>
                  <a:pt x="19109" y="0"/>
                </a:lnTo>
                <a:lnTo>
                  <a:pt x="16880" y="14172"/>
                </a:lnTo>
                <a:lnTo>
                  <a:pt x="10853" y="61096"/>
                </a:lnTo>
                <a:lnTo>
                  <a:pt x="6132" y="108418"/>
                </a:lnTo>
                <a:lnTo>
                  <a:pt x="2754" y="155883"/>
                </a:lnTo>
                <a:lnTo>
                  <a:pt x="705" y="203768"/>
                </a:lnTo>
                <a:lnTo>
                  <a:pt x="0" y="252579"/>
                </a:lnTo>
                <a:lnTo>
                  <a:pt x="687" y="300980"/>
                </a:lnTo>
                <a:lnTo>
                  <a:pt x="2738" y="349040"/>
                </a:lnTo>
                <a:lnTo>
                  <a:pt x="6089" y="396126"/>
                </a:lnTo>
                <a:lnTo>
                  <a:pt x="6132" y="396741"/>
                </a:lnTo>
                <a:lnTo>
                  <a:pt x="10853" y="444062"/>
                </a:lnTo>
                <a:lnTo>
                  <a:pt x="16880" y="490987"/>
                </a:lnTo>
                <a:lnTo>
                  <a:pt x="24196" y="537497"/>
                </a:lnTo>
                <a:lnTo>
                  <a:pt x="32782" y="583572"/>
                </a:lnTo>
                <a:lnTo>
                  <a:pt x="42619" y="629194"/>
                </a:lnTo>
                <a:lnTo>
                  <a:pt x="53690" y="674346"/>
                </a:lnTo>
                <a:lnTo>
                  <a:pt x="65974" y="719007"/>
                </a:lnTo>
                <a:lnTo>
                  <a:pt x="79454" y="763160"/>
                </a:lnTo>
                <a:lnTo>
                  <a:pt x="94111" y="806786"/>
                </a:lnTo>
                <a:lnTo>
                  <a:pt x="109927" y="849867"/>
                </a:lnTo>
                <a:lnTo>
                  <a:pt x="126882" y="892383"/>
                </a:lnTo>
                <a:lnTo>
                  <a:pt x="144984" y="934371"/>
                </a:lnTo>
                <a:lnTo>
                  <a:pt x="164139" y="975649"/>
                </a:lnTo>
                <a:lnTo>
                  <a:pt x="184403" y="1016362"/>
                </a:lnTo>
                <a:lnTo>
                  <a:pt x="205732" y="1056436"/>
                </a:lnTo>
                <a:lnTo>
                  <a:pt x="228109" y="1095853"/>
                </a:lnTo>
                <a:lnTo>
                  <a:pt x="251514" y="1134595"/>
                </a:lnTo>
                <a:lnTo>
                  <a:pt x="275929" y="1172642"/>
                </a:lnTo>
                <a:lnTo>
                  <a:pt x="301335" y="1209977"/>
                </a:lnTo>
                <a:lnTo>
                  <a:pt x="327714" y="1246580"/>
                </a:lnTo>
                <a:lnTo>
                  <a:pt x="355048" y="1282434"/>
                </a:lnTo>
                <a:lnTo>
                  <a:pt x="383317" y="1317519"/>
                </a:lnTo>
                <a:lnTo>
                  <a:pt x="412503" y="1351817"/>
                </a:lnTo>
                <a:lnTo>
                  <a:pt x="442587" y="1385310"/>
                </a:lnTo>
                <a:lnTo>
                  <a:pt x="473551" y="1417978"/>
                </a:lnTo>
                <a:lnTo>
                  <a:pt x="505377" y="1449804"/>
                </a:lnTo>
                <a:lnTo>
                  <a:pt x="538045" y="1480768"/>
                </a:lnTo>
                <a:lnTo>
                  <a:pt x="571538" y="1510852"/>
                </a:lnTo>
                <a:lnTo>
                  <a:pt x="605836" y="1540038"/>
                </a:lnTo>
                <a:lnTo>
                  <a:pt x="640921" y="1568307"/>
                </a:lnTo>
                <a:lnTo>
                  <a:pt x="676775" y="1595641"/>
                </a:lnTo>
                <a:lnTo>
                  <a:pt x="713378" y="1622020"/>
                </a:lnTo>
                <a:lnTo>
                  <a:pt x="750713" y="1647426"/>
                </a:lnTo>
                <a:lnTo>
                  <a:pt x="788760" y="1671841"/>
                </a:lnTo>
                <a:lnTo>
                  <a:pt x="827502" y="1695246"/>
                </a:lnTo>
                <a:lnTo>
                  <a:pt x="866919" y="1717623"/>
                </a:lnTo>
                <a:lnTo>
                  <a:pt x="906993" y="1738952"/>
                </a:lnTo>
                <a:lnTo>
                  <a:pt x="947706" y="1759216"/>
                </a:lnTo>
                <a:lnTo>
                  <a:pt x="989038" y="1778396"/>
                </a:lnTo>
                <a:lnTo>
                  <a:pt x="1030972" y="1796473"/>
                </a:lnTo>
                <a:lnTo>
                  <a:pt x="1073488" y="1813428"/>
                </a:lnTo>
                <a:lnTo>
                  <a:pt x="1116569" y="1829244"/>
                </a:lnTo>
                <a:lnTo>
                  <a:pt x="1160195" y="1843901"/>
                </a:lnTo>
                <a:lnTo>
                  <a:pt x="1204348" y="1857381"/>
                </a:lnTo>
                <a:lnTo>
                  <a:pt x="1249010" y="1869666"/>
                </a:lnTo>
                <a:lnTo>
                  <a:pt x="1294161" y="1880736"/>
                </a:lnTo>
                <a:lnTo>
                  <a:pt x="1339783" y="1890573"/>
                </a:lnTo>
                <a:lnTo>
                  <a:pt x="1385859" y="1899159"/>
                </a:lnTo>
                <a:lnTo>
                  <a:pt x="1432368" y="1906475"/>
                </a:lnTo>
                <a:lnTo>
                  <a:pt x="1479293" y="1912503"/>
                </a:lnTo>
                <a:lnTo>
                  <a:pt x="1526615" y="1917223"/>
                </a:lnTo>
                <a:lnTo>
                  <a:pt x="1574315" y="1920618"/>
                </a:lnTo>
                <a:lnTo>
                  <a:pt x="1622375" y="1922668"/>
                </a:lnTo>
                <a:lnTo>
                  <a:pt x="1670776" y="1923356"/>
                </a:lnTo>
                <a:lnTo>
                  <a:pt x="1700651" y="1922931"/>
                </a:lnTo>
                <a:lnTo>
                  <a:pt x="1700651" y="936087"/>
                </a:lnTo>
                <a:lnTo>
                  <a:pt x="1670776" y="936087"/>
                </a:lnTo>
                <a:lnTo>
                  <a:pt x="1621964" y="934371"/>
                </a:lnTo>
                <a:lnTo>
                  <a:pt x="1574079" y="929300"/>
                </a:lnTo>
                <a:lnTo>
                  <a:pt x="1527236" y="920989"/>
                </a:lnTo>
                <a:lnTo>
                  <a:pt x="1481550" y="909554"/>
                </a:lnTo>
                <a:lnTo>
                  <a:pt x="1437138" y="895111"/>
                </a:lnTo>
                <a:lnTo>
                  <a:pt x="1394114" y="877776"/>
                </a:lnTo>
                <a:lnTo>
                  <a:pt x="1352595" y="857663"/>
                </a:lnTo>
                <a:lnTo>
                  <a:pt x="1312696" y="834890"/>
                </a:lnTo>
                <a:lnTo>
                  <a:pt x="1274533" y="809571"/>
                </a:lnTo>
                <a:lnTo>
                  <a:pt x="1238222" y="781821"/>
                </a:lnTo>
                <a:lnTo>
                  <a:pt x="1203877" y="751758"/>
                </a:lnTo>
                <a:lnTo>
                  <a:pt x="1171616" y="719496"/>
                </a:lnTo>
                <a:lnTo>
                  <a:pt x="1141553" y="685151"/>
                </a:lnTo>
                <a:lnTo>
                  <a:pt x="1113804" y="648838"/>
                </a:lnTo>
                <a:lnTo>
                  <a:pt x="1088485" y="610674"/>
                </a:lnTo>
                <a:lnTo>
                  <a:pt x="1065712" y="570774"/>
                </a:lnTo>
                <a:lnTo>
                  <a:pt x="1045600" y="529253"/>
                </a:lnTo>
                <a:lnTo>
                  <a:pt x="1028265" y="486228"/>
                </a:lnTo>
                <a:lnTo>
                  <a:pt x="1013822" y="441814"/>
                </a:lnTo>
                <a:lnTo>
                  <a:pt x="1002387" y="396126"/>
                </a:lnTo>
                <a:lnTo>
                  <a:pt x="994076" y="349281"/>
                </a:lnTo>
                <a:lnTo>
                  <a:pt x="989005" y="301393"/>
                </a:lnTo>
                <a:lnTo>
                  <a:pt x="987289" y="252579"/>
                </a:lnTo>
                <a:lnTo>
                  <a:pt x="988991" y="204178"/>
                </a:lnTo>
                <a:lnTo>
                  <a:pt x="989005" y="203768"/>
                </a:lnTo>
                <a:lnTo>
                  <a:pt x="994051" y="156118"/>
                </a:lnTo>
                <a:lnTo>
                  <a:pt x="994076" y="155883"/>
                </a:lnTo>
                <a:lnTo>
                  <a:pt x="1002387" y="109039"/>
                </a:lnTo>
                <a:lnTo>
                  <a:pt x="1013822" y="63354"/>
                </a:lnTo>
                <a:lnTo>
                  <a:pt x="1028265" y="18941"/>
                </a:lnTo>
                <a:lnTo>
                  <a:pt x="1035897" y="0"/>
                </a:lnTo>
                <a:close/>
              </a:path>
              <a:path w="1701165" h="1923414">
                <a:moveTo>
                  <a:pt x="1700651" y="935037"/>
                </a:moveTo>
                <a:lnTo>
                  <a:pt x="1670776" y="936087"/>
                </a:lnTo>
                <a:lnTo>
                  <a:pt x="1700651" y="936087"/>
                </a:lnTo>
                <a:lnTo>
                  <a:pt x="1700651" y="935037"/>
                </a:lnTo>
                <a:close/>
              </a:path>
            </a:pathLst>
          </a:custGeom>
          <a:solidFill>
            <a:srgbClr val="2B31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17125438" y="227272"/>
            <a:ext cx="1874520" cy="1874520"/>
          </a:xfrm>
          <a:custGeom>
            <a:avLst/>
            <a:gdLst/>
            <a:ahLst/>
            <a:cxnLst/>
            <a:rect l="l" t="t" r="r" b="b"/>
            <a:pathLst>
              <a:path w="1874519" h="1874520">
                <a:moveTo>
                  <a:pt x="937207" y="0"/>
                </a:moveTo>
                <a:lnTo>
                  <a:pt x="889051" y="1221"/>
                </a:lnTo>
                <a:lnTo>
                  <a:pt x="841519" y="4847"/>
                </a:lnTo>
                <a:lnTo>
                  <a:pt x="794670" y="10818"/>
                </a:lnTo>
                <a:lnTo>
                  <a:pt x="748564" y="19074"/>
                </a:lnTo>
                <a:lnTo>
                  <a:pt x="703259" y="29556"/>
                </a:lnTo>
                <a:lnTo>
                  <a:pt x="658816" y="42205"/>
                </a:lnTo>
                <a:lnTo>
                  <a:pt x="615294" y="56962"/>
                </a:lnTo>
                <a:lnTo>
                  <a:pt x="572751" y="73766"/>
                </a:lnTo>
                <a:lnTo>
                  <a:pt x="531248" y="92559"/>
                </a:lnTo>
                <a:lnTo>
                  <a:pt x="490844" y="113282"/>
                </a:lnTo>
                <a:lnTo>
                  <a:pt x="451597" y="135874"/>
                </a:lnTo>
                <a:lnTo>
                  <a:pt x="413568" y="160277"/>
                </a:lnTo>
                <a:lnTo>
                  <a:pt x="376815" y="186432"/>
                </a:lnTo>
                <a:lnTo>
                  <a:pt x="341398" y="214279"/>
                </a:lnTo>
                <a:lnTo>
                  <a:pt x="307377" y="243758"/>
                </a:lnTo>
                <a:lnTo>
                  <a:pt x="274811" y="274811"/>
                </a:lnTo>
                <a:lnTo>
                  <a:pt x="243758" y="307377"/>
                </a:lnTo>
                <a:lnTo>
                  <a:pt x="214279" y="341398"/>
                </a:lnTo>
                <a:lnTo>
                  <a:pt x="186432" y="376815"/>
                </a:lnTo>
                <a:lnTo>
                  <a:pt x="160277" y="413568"/>
                </a:lnTo>
                <a:lnTo>
                  <a:pt x="135874" y="451597"/>
                </a:lnTo>
                <a:lnTo>
                  <a:pt x="113282" y="490844"/>
                </a:lnTo>
                <a:lnTo>
                  <a:pt x="92559" y="531248"/>
                </a:lnTo>
                <a:lnTo>
                  <a:pt x="73766" y="572751"/>
                </a:lnTo>
                <a:lnTo>
                  <a:pt x="56962" y="615294"/>
                </a:lnTo>
                <a:lnTo>
                  <a:pt x="42205" y="658816"/>
                </a:lnTo>
                <a:lnTo>
                  <a:pt x="29556" y="703259"/>
                </a:lnTo>
                <a:lnTo>
                  <a:pt x="19074" y="748564"/>
                </a:lnTo>
                <a:lnTo>
                  <a:pt x="10818" y="794670"/>
                </a:lnTo>
                <a:lnTo>
                  <a:pt x="4844" y="841564"/>
                </a:lnTo>
                <a:lnTo>
                  <a:pt x="1221" y="889051"/>
                </a:lnTo>
                <a:lnTo>
                  <a:pt x="0" y="937207"/>
                </a:lnTo>
                <a:lnTo>
                  <a:pt x="1225" y="985406"/>
                </a:lnTo>
                <a:lnTo>
                  <a:pt x="4847" y="1032896"/>
                </a:lnTo>
                <a:lnTo>
                  <a:pt x="10781" y="1079459"/>
                </a:lnTo>
                <a:lnTo>
                  <a:pt x="10818" y="1079746"/>
                </a:lnTo>
                <a:lnTo>
                  <a:pt x="18947" y="1125146"/>
                </a:lnTo>
                <a:lnTo>
                  <a:pt x="19074" y="1125853"/>
                </a:lnTo>
                <a:lnTo>
                  <a:pt x="29556" y="1171158"/>
                </a:lnTo>
                <a:lnTo>
                  <a:pt x="42205" y="1215602"/>
                </a:lnTo>
                <a:lnTo>
                  <a:pt x="56962" y="1259125"/>
                </a:lnTo>
                <a:lnTo>
                  <a:pt x="73766" y="1301668"/>
                </a:lnTo>
                <a:lnTo>
                  <a:pt x="92559" y="1343172"/>
                </a:lnTo>
                <a:lnTo>
                  <a:pt x="113282" y="1383577"/>
                </a:lnTo>
                <a:lnTo>
                  <a:pt x="135874" y="1422824"/>
                </a:lnTo>
                <a:lnTo>
                  <a:pt x="160277" y="1460853"/>
                </a:lnTo>
                <a:lnTo>
                  <a:pt x="186432" y="1497606"/>
                </a:lnTo>
                <a:lnTo>
                  <a:pt x="214279" y="1533023"/>
                </a:lnTo>
                <a:lnTo>
                  <a:pt x="243758" y="1567045"/>
                </a:lnTo>
                <a:lnTo>
                  <a:pt x="274811" y="1599612"/>
                </a:lnTo>
                <a:lnTo>
                  <a:pt x="307377" y="1630665"/>
                </a:lnTo>
                <a:lnTo>
                  <a:pt x="341398" y="1660144"/>
                </a:lnTo>
                <a:lnTo>
                  <a:pt x="376815" y="1687991"/>
                </a:lnTo>
                <a:lnTo>
                  <a:pt x="413568" y="1714146"/>
                </a:lnTo>
                <a:lnTo>
                  <a:pt x="451597" y="1738549"/>
                </a:lnTo>
                <a:lnTo>
                  <a:pt x="490844" y="1761142"/>
                </a:lnTo>
                <a:lnTo>
                  <a:pt x="531248" y="1781864"/>
                </a:lnTo>
                <a:lnTo>
                  <a:pt x="572751" y="1800658"/>
                </a:lnTo>
                <a:lnTo>
                  <a:pt x="615294" y="1817462"/>
                </a:lnTo>
                <a:lnTo>
                  <a:pt x="658816" y="1832218"/>
                </a:lnTo>
                <a:lnTo>
                  <a:pt x="703259" y="1844867"/>
                </a:lnTo>
                <a:lnTo>
                  <a:pt x="748564" y="1855350"/>
                </a:lnTo>
                <a:lnTo>
                  <a:pt x="794670" y="1863606"/>
                </a:lnTo>
                <a:lnTo>
                  <a:pt x="841519" y="1869576"/>
                </a:lnTo>
                <a:lnTo>
                  <a:pt x="889051" y="1873202"/>
                </a:lnTo>
                <a:lnTo>
                  <a:pt x="937207" y="1874424"/>
                </a:lnTo>
                <a:lnTo>
                  <a:pt x="985363" y="1873202"/>
                </a:lnTo>
                <a:lnTo>
                  <a:pt x="1032896" y="1869576"/>
                </a:lnTo>
                <a:lnTo>
                  <a:pt x="1079746" y="1863606"/>
                </a:lnTo>
                <a:lnTo>
                  <a:pt x="1125853" y="1855350"/>
                </a:lnTo>
                <a:lnTo>
                  <a:pt x="1171158" y="1844867"/>
                </a:lnTo>
                <a:lnTo>
                  <a:pt x="1215602" y="1832218"/>
                </a:lnTo>
                <a:lnTo>
                  <a:pt x="1259125" y="1817462"/>
                </a:lnTo>
                <a:lnTo>
                  <a:pt x="1301668" y="1800658"/>
                </a:lnTo>
                <a:lnTo>
                  <a:pt x="1343172" y="1781864"/>
                </a:lnTo>
                <a:lnTo>
                  <a:pt x="1383577" y="1761142"/>
                </a:lnTo>
                <a:lnTo>
                  <a:pt x="1422824" y="1738549"/>
                </a:lnTo>
                <a:lnTo>
                  <a:pt x="1436768" y="1729601"/>
                </a:lnTo>
                <a:lnTo>
                  <a:pt x="937207" y="1729601"/>
                </a:lnTo>
                <a:lnTo>
                  <a:pt x="889008" y="1728152"/>
                </a:lnTo>
                <a:lnTo>
                  <a:pt x="841564" y="1723862"/>
                </a:lnTo>
                <a:lnTo>
                  <a:pt x="794957" y="1716812"/>
                </a:lnTo>
                <a:lnTo>
                  <a:pt x="749271" y="1707088"/>
                </a:lnTo>
                <a:lnTo>
                  <a:pt x="704590" y="1694772"/>
                </a:lnTo>
                <a:lnTo>
                  <a:pt x="660997" y="1679948"/>
                </a:lnTo>
                <a:lnTo>
                  <a:pt x="618576" y="1662699"/>
                </a:lnTo>
                <a:lnTo>
                  <a:pt x="577410" y="1643110"/>
                </a:lnTo>
                <a:lnTo>
                  <a:pt x="537583" y="1621263"/>
                </a:lnTo>
                <a:lnTo>
                  <a:pt x="499178" y="1597243"/>
                </a:lnTo>
                <a:lnTo>
                  <a:pt x="462279" y="1571131"/>
                </a:lnTo>
                <a:lnTo>
                  <a:pt x="426969" y="1543013"/>
                </a:lnTo>
                <a:lnTo>
                  <a:pt x="393331" y="1512972"/>
                </a:lnTo>
                <a:lnTo>
                  <a:pt x="361450" y="1481091"/>
                </a:lnTo>
                <a:lnTo>
                  <a:pt x="331409" y="1447453"/>
                </a:lnTo>
                <a:lnTo>
                  <a:pt x="303291" y="1412143"/>
                </a:lnTo>
                <a:lnTo>
                  <a:pt x="277180" y="1375243"/>
                </a:lnTo>
                <a:lnTo>
                  <a:pt x="253160" y="1336838"/>
                </a:lnTo>
                <a:lnTo>
                  <a:pt x="231313" y="1297010"/>
                </a:lnTo>
                <a:lnTo>
                  <a:pt x="211724" y="1255843"/>
                </a:lnTo>
                <a:lnTo>
                  <a:pt x="194476" y="1213421"/>
                </a:lnTo>
                <a:lnTo>
                  <a:pt x="179652" y="1169828"/>
                </a:lnTo>
                <a:lnTo>
                  <a:pt x="167336" y="1125146"/>
                </a:lnTo>
                <a:lnTo>
                  <a:pt x="157673" y="1079746"/>
                </a:lnTo>
                <a:lnTo>
                  <a:pt x="157611" y="1079459"/>
                </a:lnTo>
                <a:lnTo>
                  <a:pt x="150569" y="1032896"/>
                </a:lnTo>
                <a:lnTo>
                  <a:pt x="146271" y="985406"/>
                </a:lnTo>
                <a:lnTo>
                  <a:pt x="144822" y="937207"/>
                </a:lnTo>
                <a:lnTo>
                  <a:pt x="146270" y="889051"/>
                </a:lnTo>
                <a:lnTo>
                  <a:pt x="150562" y="841564"/>
                </a:lnTo>
                <a:lnTo>
                  <a:pt x="157611" y="794957"/>
                </a:lnTo>
                <a:lnTo>
                  <a:pt x="167336" y="749271"/>
                </a:lnTo>
                <a:lnTo>
                  <a:pt x="179652" y="704590"/>
                </a:lnTo>
                <a:lnTo>
                  <a:pt x="194476" y="660997"/>
                </a:lnTo>
                <a:lnTo>
                  <a:pt x="211724" y="618576"/>
                </a:lnTo>
                <a:lnTo>
                  <a:pt x="231313" y="577410"/>
                </a:lnTo>
                <a:lnTo>
                  <a:pt x="253160" y="537583"/>
                </a:lnTo>
                <a:lnTo>
                  <a:pt x="277180" y="499178"/>
                </a:lnTo>
                <a:lnTo>
                  <a:pt x="303291" y="462279"/>
                </a:lnTo>
                <a:lnTo>
                  <a:pt x="331409" y="426969"/>
                </a:lnTo>
                <a:lnTo>
                  <a:pt x="361450" y="393331"/>
                </a:lnTo>
                <a:lnTo>
                  <a:pt x="393331" y="361450"/>
                </a:lnTo>
                <a:lnTo>
                  <a:pt x="426969" y="331409"/>
                </a:lnTo>
                <a:lnTo>
                  <a:pt x="462279" y="303291"/>
                </a:lnTo>
                <a:lnTo>
                  <a:pt x="499178" y="277180"/>
                </a:lnTo>
                <a:lnTo>
                  <a:pt x="537583" y="253160"/>
                </a:lnTo>
                <a:lnTo>
                  <a:pt x="577410" y="231313"/>
                </a:lnTo>
                <a:lnTo>
                  <a:pt x="618576" y="211724"/>
                </a:lnTo>
                <a:lnTo>
                  <a:pt x="660997" y="194476"/>
                </a:lnTo>
                <a:lnTo>
                  <a:pt x="704590" y="179652"/>
                </a:lnTo>
                <a:lnTo>
                  <a:pt x="749271" y="167336"/>
                </a:lnTo>
                <a:lnTo>
                  <a:pt x="794957" y="157611"/>
                </a:lnTo>
                <a:lnTo>
                  <a:pt x="841564" y="150562"/>
                </a:lnTo>
                <a:lnTo>
                  <a:pt x="889008" y="146271"/>
                </a:lnTo>
                <a:lnTo>
                  <a:pt x="937207" y="144822"/>
                </a:lnTo>
                <a:lnTo>
                  <a:pt x="1436768" y="144822"/>
                </a:lnTo>
                <a:lnTo>
                  <a:pt x="1422824" y="135874"/>
                </a:lnTo>
                <a:lnTo>
                  <a:pt x="1383577" y="113282"/>
                </a:lnTo>
                <a:lnTo>
                  <a:pt x="1343172" y="92559"/>
                </a:lnTo>
                <a:lnTo>
                  <a:pt x="1301668" y="73766"/>
                </a:lnTo>
                <a:lnTo>
                  <a:pt x="1259125" y="56962"/>
                </a:lnTo>
                <a:lnTo>
                  <a:pt x="1215602" y="42205"/>
                </a:lnTo>
                <a:lnTo>
                  <a:pt x="1171158" y="29556"/>
                </a:lnTo>
                <a:lnTo>
                  <a:pt x="1125853" y="19074"/>
                </a:lnTo>
                <a:lnTo>
                  <a:pt x="1079746" y="10818"/>
                </a:lnTo>
                <a:lnTo>
                  <a:pt x="1032896" y="4847"/>
                </a:lnTo>
                <a:lnTo>
                  <a:pt x="985363" y="1221"/>
                </a:lnTo>
                <a:lnTo>
                  <a:pt x="937207" y="0"/>
                </a:lnTo>
                <a:close/>
              </a:path>
              <a:path w="1874519" h="1874520">
                <a:moveTo>
                  <a:pt x="1436768" y="144822"/>
                </a:moveTo>
                <a:lnTo>
                  <a:pt x="937207" y="144822"/>
                </a:lnTo>
                <a:lnTo>
                  <a:pt x="985406" y="146271"/>
                </a:lnTo>
                <a:lnTo>
                  <a:pt x="1032852" y="150562"/>
                </a:lnTo>
                <a:lnTo>
                  <a:pt x="1079459" y="157611"/>
                </a:lnTo>
                <a:lnTo>
                  <a:pt x="1125146" y="167336"/>
                </a:lnTo>
                <a:lnTo>
                  <a:pt x="1169828" y="179652"/>
                </a:lnTo>
                <a:lnTo>
                  <a:pt x="1213421" y="194476"/>
                </a:lnTo>
                <a:lnTo>
                  <a:pt x="1255843" y="211724"/>
                </a:lnTo>
                <a:lnTo>
                  <a:pt x="1297010" y="231313"/>
                </a:lnTo>
                <a:lnTo>
                  <a:pt x="1336838" y="253160"/>
                </a:lnTo>
                <a:lnTo>
                  <a:pt x="1375243" y="277180"/>
                </a:lnTo>
                <a:lnTo>
                  <a:pt x="1412143" y="303291"/>
                </a:lnTo>
                <a:lnTo>
                  <a:pt x="1447453" y="331409"/>
                </a:lnTo>
                <a:lnTo>
                  <a:pt x="1481091" y="361450"/>
                </a:lnTo>
                <a:lnTo>
                  <a:pt x="1512972" y="393331"/>
                </a:lnTo>
                <a:lnTo>
                  <a:pt x="1543013" y="426969"/>
                </a:lnTo>
                <a:lnTo>
                  <a:pt x="1571131" y="462279"/>
                </a:lnTo>
                <a:lnTo>
                  <a:pt x="1597243" y="499178"/>
                </a:lnTo>
                <a:lnTo>
                  <a:pt x="1621263" y="537583"/>
                </a:lnTo>
                <a:lnTo>
                  <a:pt x="1643110" y="577410"/>
                </a:lnTo>
                <a:lnTo>
                  <a:pt x="1662699" y="618576"/>
                </a:lnTo>
                <a:lnTo>
                  <a:pt x="1679948" y="660997"/>
                </a:lnTo>
                <a:lnTo>
                  <a:pt x="1694772" y="704590"/>
                </a:lnTo>
                <a:lnTo>
                  <a:pt x="1707088" y="749271"/>
                </a:lnTo>
                <a:lnTo>
                  <a:pt x="1716751" y="794670"/>
                </a:lnTo>
                <a:lnTo>
                  <a:pt x="1723862" y="841564"/>
                </a:lnTo>
                <a:lnTo>
                  <a:pt x="1728154" y="889051"/>
                </a:lnTo>
                <a:lnTo>
                  <a:pt x="1729601" y="937207"/>
                </a:lnTo>
                <a:lnTo>
                  <a:pt x="1728152" y="985406"/>
                </a:lnTo>
                <a:lnTo>
                  <a:pt x="1723855" y="1032896"/>
                </a:lnTo>
                <a:lnTo>
                  <a:pt x="1716812" y="1079459"/>
                </a:lnTo>
                <a:lnTo>
                  <a:pt x="1707088" y="1125146"/>
                </a:lnTo>
                <a:lnTo>
                  <a:pt x="1694772" y="1169828"/>
                </a:lnTo>
                <a:lnTo>
                  <a:pt x="1679948" y="1213421"/>
                </a:lnTo>
                <a:lnTo>
                  <a:pt x="1662699" y="1255843"/>
                </a:lnTo>
                <a:lnTo>
                  <a:pt x="1643110" y="1297010"/>
                </a:lnTo>
                <a:lnTo>
                  <a:pt x="1621263" y="1336838"/>
                </a:lnTo>
                <a:lnTo>
                  <a:pt x="1597243" y="1375243"/>
                </a:lnTo>
                <a:lnTo>
                  <a:pt x="1571131" y="1412143"/>
                </a:lnTo>
                <a:lnTo>
                  <a:pt x="1543013" y="1447453"/>
                </a:lnTo>
                <a:lnTo>
                  <a:pt x="1512972" y="1481091"/>
                </a:lnTo>
                <a:lnTo>
                  <a:pt x="1481091" y="1512972"/>
                </a:lnTo>
                <a:lnTo>
                  <a:pt x="1447453" y="1543013"/>
                </a:lnTo>
                <a:lnTo>
                  <a:pt x="1412143" y="1571131"/>
                </a:lnTo>
                <a:lnTo>
                  <a:pt x="1375243" y="1597243"/>
                </a:lnTo>
                <a:lnTo>
                  <a:pt x="1336838" y="1621263"/>
                </a:lnTo>
                <a:lnTo>
                  <a:pt x="1297010" y="1643110"/>
                </a:lnTo>
                <a:lnTo>
                  <a:pt x="1255843" y="1662699"/>
                </a:lnTo>
                <a:lnTo>
                  <a:pt x="1213421" y="1679948"/>
                </a:lnTo>
                <a:lnTo>
                  <a:pt x="1169828" y="1694772"/>
                </a:lnTo>
                <a:lnTo>
                  <a:pt x="1125146" y="1707088"/>
                </a:lnTo>
                <a:lnTo>
                  <a:pt x="1079459" y="1716812"/>
                </a:lnTo>
                <a:lnTo>
                  <a:pt x="1032852" y="1723862"/>
                </a:lnTo>
                <a:lnTo>
                  <a:pt x="985406" y="1728152"/>
                </a:lnTo>
                <a:lnTo>
                  <a:pt x="937207" y="1729601"/>
                </a:lnTo>
                <a:lnTo>
                  <a:pt x="1436768" y="1729601"/>
                </a:lnTo>
                <a:lnTo>
                  <a:pt x="1497606" y="1687991"/>
                </a:lnTo>
                <a:lnTo>
                  <a:pt x="1533023" y="1660144"/>
                </a:lnTo>
                <a:lnTo>
                  <a:pt x="1567045" y="1630665"/>
                </a:lnTo>
                <a:lnTo>
                  <a:pt x="1599612" y="1599612"/>
                </a:lnTo>
                <a:lnTo>
                  <a:pt x="1630665" y="1567045"/>
                </a:lnTo>
                <a:lnTo>
                  <a:pt x="1660144" y="1533023"/>
                </a:lnTo>
                <a:lnTo>
                  <a:pt x="1687991" y="1497606"/>
                </a:lnTo>
                <a:lnTo>
                  <a:pt x="1714146" y="1460853"/>
                </a:lnTo>
                <a:lnTo>
                  <a:pt x="1738549" y="1422824"/>
                </a:lnTo>
                <a:lnTo>
                  <a:pt x="1761142" y="1383577"/>
                </a:lnTo>
                <a:lnTo>
                  <a:pt x="1781864" y="1343172"/>
                </a:lnTo>
                <a:lnTo>
                  <a:pt x="1800658" y="1301668"/>
                </a:lnTo>
                <a:lnTo>
                  <a:pt x="1817462" y="1259125"/>
                </a:lnTo>
                <a:lnTo>
                  <a:pt x="1832218" y="1215602"/>
                </a:lnTo>
                <a:lnTo>
                  <a:pt x="1844867" y="1171158"/>
                </a:lnTo>
                <a:lnTo>
                  <a:pt x="1855350" y="1125853"/>
                </a:lnTo>
                <a:lnTo>
                  <a:pt x="1863606" y="1079746"/>
                </a:lnTo>
                <a:lnTo>
                  <a:pt x="1869576" y="1032896"/>
                </a:lnTo>
                <a:lnTo>
                  <a:pt x="1873199" y="985406"/>
                </a:lnTo>
                <a:lnTo>
                  <a:pt x="1874424" y="937207"/>
                </a:lnTo>
                <a:lnTo>
                  <a:pt x="1873202" y="889051"/>
                </a:lnTo>
                <a:lnTo>
                  <a:pt x="1869580" y="841564"/>
                </a:lnTo>
                <a:lnTo>
                  <a:pt x="1863642" y="794957"/>
                </a:lnTo>
                <a:lnTo>
                  <a:pt x="1855476" y="749271"/>
                </a:lnTo>
                <a:lnTo>
                  <a:pt x="1844867" y="703259"/>
                </a:lnTo>
                <a:lnTo>
                  <a:pt x="1832218" y="658816"/>
                </a:lnTo>
                <a:lnTo>
                  <a:pt x="1817462" y="615294"/>
                </a:lnTo>
                <a:lnTo>
                  <a:pt x="1800658" y="572751"/>
                </a:lnTo>
                <a:lnTo>
                  <a:pt x="1781864" y="531248"/>
                </a:lnTo>
                <a:lnTo>
                  <a:pt x="1761142" y="490844"/>
                </a:lnTo>
                <a:lnTo>
                  <a:pt x="1738549" y="451597"/>
                </a:lnTo>
                <a:lnTo>
                  <a:pt x="1714146" y="413568"/>
                </a:lnTo>
                <a:lnTo>
                  <a:pt x="1687991" y="376815"/>
                </a:lnTo>
                <a:lnTo>
                  <a:pt x="1660144" y="341398"/>
                </a:lnTo>
                <a:lnTo>
                  <a:pt x="1630665" y="307377"/>
                </a:lnTo>
                <a:lnTo>
                  <a:pt x="1599612" y="274811"/>
                </a:lnTo>
                <a:lnTo>
                  <a:pt x="1567045" y="243758"/>
                </a:lnTo>
                <a:lnTo>
                  <a:pt x="1533023" y="214279"/>
                </a:lnTo>
                <a:lnTo>
                  <a:pt x="1497606" y="186432"/>
                </a:lnTo>
                <a:lnTo>
                  <a:pt x="1460853" y="160277"/>
                </a:lnTo>
                <a:lnTo>
                  <a:pt x="1436768" y="144822"/>
                </a:lnTo>
                <a:close/>
              </a:path>
            </a:pathLst>
          </a:custGeom>
          <a:solidFill>
            <a:srgbClr val="7EC8EE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4" name="bg object 24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-4" y="6996914"/>
            <a:ext cx="2099004" cy="352169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939767" y="3955750"/>
            <a:ext cx="12224564" cy="28054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200" b="1" i="0">
                <a:solidFill>
                  <a:srgbClr val="2B3180"/>
                </a:solidFill>
                <a:latin typeface="Titillium"/>
                <a:cs typeface="Titilliu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5205" y="2601150"/>
            <a:ext cx="18093690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0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3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1737063853"/>
              </p:ext>
            </p:extLst>
          </p:nvPr>
        </p:nvGraphicFramePr>
        <p:xfrm>
          <a:off x="2619" y="2620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2619" y="2620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649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8415356" y="10562366"/>
            <a:ext cx="628253" cy="2537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64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64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1038844" y="1027044"/>
            <a:ext cx="18028639" cy="54815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038844" y="3010591"/>
            <a:ext cx="18028639" cy="71756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3" name="MSIPCMContentMarking" descr="{&quot;HashCode&quot;:-651947352,&quot;Placement&quot;:&quot;Footer&quot;}">
            <a:extLst>
              <a:ext uri="{FF2B5EF4-FFF2-40B4-BE49-F238E27FC236}">
                <a16:creationId xmlns:a16="http://schemas.microsoft.com/office/drawing/2014/main" id="{2FCB3ED6-C42A-41E6-BD14-084F0922A86E}"/>
              </a:ext>
            </a:extLst>
          </p:cNvPr>
          <p:cNvSpPr txBox="1"/>
          <p:nvPr userDrawn="1"/>
        </p:nvSpPr>
        <p:spPr>
          <a:xfrm>
            <a:off x="1" y="10820359"/>
            <a:ext cx="2318213" cy="48899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979">
                <a:solidFill>
                  <a:srgbClr val="FF8C00"/>
                </a:solidFill>
                <a:latin typeface="Calibri" panose="020F0502020204030204" pitchFamily="34" charset="0"/>
              </a:rPr>
              <a:t>Sensitivity: Public</a:t>
            </a:r>
            <a:endParaRPr lang="en-US" sz="1979" dirty="0" err="1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9775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  <p:sldLayoutId id="2147483701" r:id="rId35"/>
    <p:sldLayoutId id="2147483702" r:id="rId36"/>
    <p:sldLayoutId id="2147483703" r:id="rId37"/>
    <p:sldLayoutId id="2147483704" r:id="rId38"/>
    <p:sldLayoutId id="2147483705" r:id="rId39"/>
    <p:sldLayoutId id="2147483706" r:id="rId40"/>
    <p:sldLayoutId id="2147483707" r:id="rId41"/>
    <p:sldLayoutId id="2147483708" r:id="rId42"/>
    <p:sldLayoutId id="2147483709" r:id="rId43"/>
    <p:sldLayoutId id="2147483710" r:id="rId44"/>
    <p:sldLayoutId id="2147483711" r:id="rId45"/>
    <p:sldLayoutId id="2147483712" r:id="rId46"/>
    <p:sldLayoutId id="2147483713" r:id="rId47"/>
    <p:sldLayoutId id="2147483714" r:id="rId48"/>
    <p:sldLayoutId id="2147483715" r:id="rId49"/>
    <p:sldLayoutId id="2147483716" r:id="rId50"/>
    <p:sldLayoutId id="2147483717" r:id="rId51"/>
    <p:sldLayoutId id="2147483718" r:id="rId52"/>
    <p:sldLayoutId id="2147483719" r:id="rId53"/>
    <p:sldLayoutId id="2147483720" r:id="rId54"/>
    <p:sldLayoutId id="2147483721" r:id="rId55"/>
    <p:sldLayoutId id="2147483722" r:id="rId56"/>
    <p:sldLayoutId id="2147483723" r:id="rId57"/>
    <p:sldLayoutId id="2147483724" r:id="rId58"/>
    <p:sldLayoutId id="2147483725" r:id="rId59"/>
    <p:sldLayoutId id="2147483726" r:id="rId60"/>
    <p:sldLayoutId id="2147483727" r:id="rId61"/>
    <p:sldLayoutId id="2147483728" r:id="rId62"/>
    <p:sldLayoutId id="2147483729" r:id="rId63"/>
    <p:sldLayoutId id="2147483730" r:id="rId64"/>
    <p:sldLayoutId id="2147483731" r:id="rId65"/>
    <p:sldLayoutId id="2147483732" r:id="rId66"/>
    <p:sldLayoutId id="2147483733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3958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1507846" rtl="0" eaLnBrk="1" latinLnBrk="0" hangingPunct="1">
        <a:lnSpc>
          <a:spcPct val="110000"/>
        </a:lnSpc>
        <a:spcBef>
          <a:spcPts val="989"/>
        </a:spcBef>
        <a:spcAft>
          <a:spcPts val="495"/>
        </a:spcAft>
        <a:buFont typeface="Arial" panose="020B0604020202020204" pitchFamily="34" charset="0"/>
        <a:buChar char="​"/>
        <a:defRPr lang="en-US" sz="1979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468976" indent="-284947" algn="l" defTabSz="1507846" rtl="0" eaLnBrk="1" latinLnBrk="0" hangingPunct="1">
        <a:lnSpc>
          <a:spcPct val="90000"/>
        </a:lnSpc>
        <a:spcBef>
          <a:spcPts val="0"/>
        </a:spcBef>
        <a:spcAft>
          <a:spcPts val="495"/>
        </a:spcAft>
        <a:buClr>
          <a:schemeClr val="tx2"/>
        </a:buClr>
        <a:buFont typeface="Arial" panose="020B0604020202020204" pitchFamily="34" charset="0"/>
        <a:buChar char="•"/>
        <a:defRPr lang="en-US" sz="1979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842969" indent="-273074" algn="l" defTabSz="1507846" rtl="0" eaLnBrk="1" latinLnBrk="0" hangingPunct="1">
        <a:lnSpc>
          <a:spcPct val="90000"/>
        </a:lnSpc>
        <a:spcBef>
          <a:spcPts val="0"/>
        </a:spcBef>
        <a:spcAft>
          <a:spcPts val="495"/>
        </a:spcAft>
        <a:buClr>
          <a:schemeClr val="tx2"/>
        </a:buClr>
        <a:buFont typeface="Trebuchet MS" panose="020B0603020202020204" pitchFamily="34" charset="0"/>
        <a:buChar char="–"/>
        <a:defRPr lang="en-US" sz="1979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1507846" rtl="0" eaLnBrk="1" latinLnBrk="0" hangingPunct="1">
        <a:lnSpc>
          <a:spcPct val="110000"/>
        </a:lnSpc>
        <a:spcBef>
          <a:spcPts val="495"/>
        </a:spcBef>
        <a:spcAft>
          <a:spcPts val="495"/>
        </a:spcAft>
        <a:buClr>
          <a:schemeClr val="tx2"/>
        </a:buClr>
        <a:buFont typeface="Arial" panose="020B0604020202020204" pitchFamily="34" charset="0"/>
        <a:buChar char="​"/>
        <a:defRPr lang="en-US" sz="2638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1507846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ClrTx/>
        <a:buFont typeface="Arial" panose="020B0604020202020204" pitchFamily="34" charset="0"/>
        <a:buChar char="​"/>
        <a:defRPr lang="en-US" sz="2638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445024" indent="-251308" algn="l" defTabSz="1507846" rtl="0" eaLnBrk="1" latinLnBrk="0" hangingPunct="1">
        <a:lnSpc>
          <a:spcPct val="90000"/>
        </a:lnSpc>
        <a:spcBef>
          <a:spcPts val="0"/>
        </a:spcBef>
        <a:spcAft>
          <a:spcPts val="989"/>
        </a:spcAft>
        <a:buClr>
          <a:schemeClr val="tx2"/>
        </a:buClr>
        <a:buFont typeface="Arial" panose="020B0604020202020204" pitchFamily="34" charset="0"/>
        <a:buChar char="•"/>
        <a:defRPr lang="en-US" sz="2638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1507846" rtl="0" eaLnBrk="1" latinLnBrk="0" hangingPunct="1">
        <a:lnSpc>
          <a:spcPct val="90000"/>
        </a:lnSpc>
        <a:spcBef>
          <a:spcPts val="1484"/>
        </a:spcBef>
        <a:spcAft>
          <a:spcPts val="1484"/>
        </a:spcAft>
        <a:buFont typeface="Arial" panose="020B0604020202020204" pitchFamily="34" charset="0"/>
        <a:buChar char="​"/>
        <a:defRPr lang="en-US" sz="7256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1507846" rtl="0" eaLnBrk="1" latinLnBrk="0" hangingPunct="1">
        <a:lnSpc>
          <a:spcPct val="90000"/>
        </a:lnSpc>
        <a:spcBef>
          <a:spcPts val="1484"/>
        </a:spcBef>
        <a:spcAft>
          <a:spcPts val="0"/>
        </a:spcAft>
        <a:buFont typeface="Arial" panose="020B0604020202020204" pitchFamily="34" charset="0"/>
        <a:buChar char="​"/>
        <a:defRPr lang="en-US" sz="8905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1507846" rtl="0" eaLnBrk="1" latinLnBrk="0" hangingPunct="1">
        <a:lnSpc>
          <a:spcPct val="100000"/>
        </a:lnSpc>
        <a:spcBef>
          <a:spcPts val="0"/>
        </a:spcBef>
        <a:spcAft>
          <a:spcPts val="1484"/>
        </a:spcAft>
        <a:buFont typeface="Arial" panose="020B0604020202020204" pitchFamily="34" charset="0"/>
        <a:buChar char="​"/>
        <a:defRPr lang="en-US" sz="3958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BE3635-6E24-A216-61F3-25A5799460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706D0B7-A5FB-948E-5500-2FCEF178F279}"/>
              </a:ext>
            </a:extLst>
          </p:cNvPr>
          <p:cNvSpPr/>
          <p:nvPr/>
        </p:nvSpPr>
        <p:spPr>
          <a:xfrm>
            <a:off x="15784257" y="8093075"/>
            <a:ext cx="4319844" cy="3216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pic>
        <p:nvPicPr>
          <p:cNvPr id="3" name="Picture 2" descr="A blue and white logo&#10;&#10;Description automatically generated">
            <a:extLst>
              <a:ext uri="{FF2B5EF4-FFF2-40B4-BE49-F238E27FC236}">
                <a16:creationId xmlns:a16="http://schemas.microsoft.com/office/drawing/2014/main" id="{563B5A44-417D-27FE-D17C-EF617FE3FE7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8135" y="9677758"/>
            <a:ext cx="3435965" cy="1461526"/>
          </a:xfrm>
          <a:prstGeom prst="rect">
            <a:avLst/>
          </a:prstGeom>
        </p:spPr>
      </p:pic>
      <p:pic>
        <p:nvPicPr>
          <p:cNvPr id="6" name="Resim 5">
            <a:extLst>
              <a:ext uri="{FF2B5EF4-FFF2-40B4-BE49-F238E27FC236}">
                <a16:creationId xmlns:a16="http://schemas.microsoft.com/office/drawing/2014/main" id="{0522A231-A9C5-F5B0-0811-5EE0E5FD87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6850" y="5778384"/>
            <a:ext cx="14935200" cy="4303363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F0B1D29A-CDC5-16B7-0668-2EA6B27C1D8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575224" y="2978040"/>
            <a:ext cx="16833851" cy="3819635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/>
          <a:p>
            <a:pPr algn="ctr">
              <a:defRPr/>
            </a:pPr>
            <a:r>
              <a:rPr lang="tr-TR" sz="8000" dirty="0">
                <a:latin typeface="+mn-lt"/>
              </a:rPr>
              <a:t>Un </a:t>
            </a:r>
            <a:r>
              <a:rPr lang="es-ES" sz="8000" dirty="0">
                <a:latin typeface="+mn-lt"/>
              </a:rPr>
              <a:t>D</a:t>
            </a:r>
            <a:r>
              <a:rPr lang="tr-TR" sz="8000" dirty="0">
                <a:latin typeface="+mn-lt"/>
              </a:rPr>
              <a:t>ía en Çimsa</a:t>
            </a:r>
            <a:br>
              <a:rPr lang="tr-TR" sz="8000" dirty="0">
                <a:latin typeface="+mn-lt"/>
              </a:rPr>
            </a:br>
            <a:r>
              <a:rPr lang="tr-TR" sz="8000" dirty="0">
                <a:latin typeface="+mn-lt"/>
              </a:rPr>
              <a:t>&amp;</a:t>
            </a:r>
            <a:br>
              <a:rPr lang="tr-TR" sz="8000" dirty="0">
                <a:latin typeface="+mn-lt"/>
              </a:rPr>
            </a:br>
            <a:r>
              <a:rPr lang="es-ES" sz="8000" dirty="0">
                <a:latin typeface="+mn-lt"/>
              </a:rPr>
              <a:t>C</a:t>
            </a:r>
            <a:r>
              <a:rPr lang="tr-TR" sz="8000" dirty="0">
                <a:latin typeface="+mn-lt"/>
              </a:rPr>
              <a:t>on </a:t>
            </a:r>
            <a:r>
              <a:rPr lang="es-ES" sz="8000" dirty="0">
                <a:latin typeface="+mn-lt"/>
              </a:rPr>
              <a:t>M</a:t>
            </a:r>
            <a:r>
              <a:rPr lang="tr-TR" sz="8000" dirty="0">
                <a:latin typeface="+mn-lt"/>
              </a:rPr>
              <a:t>ujeres </a:t>
            </a:r>
            <a:r>
              <a:rPr lang="es-ES" sz="8000" dirty="0">
                <a:latin typeface="+mn-lt"/>
              </a:rPr>
              <a:t>I</a:t>
            </a:r>
            <a:r>
              <a:rPr lang="tr-TR" sz="8000" dirty="0">
                <a:latin typeface="+mn-lt"/>
              </a:rPr>
              <a:t>ngenieras </a:t>
            </a:r>
            <a:endParaRPr lang="en-US" sz="8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794245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C73A35-BFD2-D005-2689-A356E39926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642B1FD-D659-4853-CB0A-4DD88F11C1DF}"/>
              </a:ext>
            </a:extLst>
          </p:cNvPr>
          <p:cNvSpPr/>
          <p:nvPr/>
        </p:nvSpPr>
        <p:spPr>
          <a:xfrm>
            <a:off x="2533472" y="4671011"/>
            <a:ext cx="14121130" cy="533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ebruary 20 - STEM Career Fair – Hounston of University</a:t>
            </a:r>
            <a:endParaRPr lang="tr-T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7CCF6C-C40D-EB68-C332-810B64353E93}"/>
              </a:ext>
            </a:extLst>
          </p:cNvPr>
          <p:cNvSpPr/>
          <p:nvPr/>
        </p:nvSpPr>
        <p:spPr>
          <a:xfrm>
            <a:off x="15062609" y="9045883"/>
            <a:ext cx="5062180" cy="2263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16AFB0-D08B-5B76-AFB9-28F5B0D3DAC3}"/>
              </a:ext>
            </a:extLst>
          </p:cNvPr>
          <p:cNvSpPr/>
          <p:nvPr/>
        </p:nvSpPr>
        <p:spPr>
          <a:xfrm>
            <a:off x="15767049" y="9388474"/>
            <a:ext cx="4357739" cy="19503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B119F7-1222-C778-1F5F-9C2D25591418}"/>
              </a:ext>
            </a:extLst>
          </p:cNvPr>
          <p:cNvSpPr/>
          <p:nvPr/>
        </p:nvSpPr>
        <p:spPr>
          <a:xfrm>
            <a:off x="15046843" y="8149302"/>
            <a:ext cx="5062180" cy="2263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pic>
        <p:nvPicPr>
          <p:cNvPr id="20" name="Picture 19" descr="A blue and white logo&#10;&#10;Description automatically generated">
            <a:extLst>
              <a:ext uri="{FF2B5EF4-FFF2-40B4-BE49-F238E27FC236}">
                <a16:creationId xmlns:a16="http://schemas.microsoft.com/office/drawing/2014/main" id="{8874D3C9-BA75-082C-3D54-AF87F643F0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2850" y="9606370"/>
            <a:ext cx="3560700" cy="1514583"/>
          </a:xfrm>
          <a:prstGeom prst="rect">
            <a:avLst/>
          </a:prstGeom>
        </p:spPr>
      </p:pic>
      <p:sp>
        <p:nvSpPr>
          <p:cNvPr id="162" name="TextBox 161">
            <a:extLst>
              <a:ext uri="{FF2B5EF4-FFF2-40B4-BE49-F238E27FC236}">
                <a16:creationId xmlns:a16="http://schemas.microsoft.com/office/drawing/2014/main" id="{AEC4CA0F-6AE4-A192-0C00-2A058F876D82}"/>
              </a:ext>
            </a:extLst>
          </p:cNvPr>
          <p:cNvSpPr txBox="1"/>
          <p:nvPr/>
        </p:nvSpPr>
        <p:spPr>
          <a:xfrm>
            <a:off x="1842106" y="9371934"/>
            <a:ext cx="15679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200" dirty="0">
                <a:solidFill>
                  <a:schemeClr val="bg1"/>
                </a:solidFill>
                <a:latin typeface="Montserrat" panose="00000500000000000000" pitchFamily="2" charset="0"/>
              </a:rPr>
              <a:t>19 Kasım 2025</a:t>
            </a:r>
          </a:p>
          <a:p>
            <a:pPr algn="ctr"/>
            <a:r>
              <a:rPr lang="tr-TR" sz="1200" dirty="0">
                <a:solidFill>
                  <a:schemeClr val="bg1"/>
                </a:solidFill>
                <a:latin typeface="Montserrat" panose="00000500000000000000" pitchFamily="2" charset="0"/>
              </a:rPr>
              <a:t>………..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5DA26C07-C4CF-6228-6677-0A6D40ECA9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6685957"/>
              </p:ext>
            </p:extLst>
          </p:nvPr>
        </p:nvGraphicFramePr>
        <p:xfrm>
          <a:off x="2853900" y="2939925"/>
          <a:ext cx="15884950" cy="5102946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2766482">
                  <a:extLst>
                    <a:ext uri="{9D8B030D-6E8A-4147-A177-3AD203B41FA5}">
                      <a16:colId xmlns:a16="http://schemas.microsoft.com/office/drawing/2014/main" val="1521378180"/>
                    </a:ext>
                  </a:extLst>
                </a:gridCol>
                <a:gridCol w="9232268">
                  <a:extLst>
                    <a:ext uri="{9D8B030D-6E8A-4147-A177-3AD203B41FA5}">
                      <a16:colId xmlns:a16="http://schemas.microsoft.com/office/drawing/2014/main" val="1066545168"/>
                    </a:ext>
                  </a:extLst>
                </a:gridCol>
                <a:gridCol w="3886200">
                  <a:extLst>
                    <a:ext uri="{9D8B030D-6E8A-4147-A177-3AD203B41FA5}">
                      <a16:colId xmlns:a16="http://schemas.microsoft.com/office/drawing/2014/main" val="1766806596"/>
                    </a:ext>
                  </a:extLst>
                </a:gridCol>
              </a:tblGrid>
              <a:tr h="69822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s-ES" sz="2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n día en Çimsa con Mujeres Ingenieras</a:t>
                      </a:r>
                      <a:endParaRPr lang="tr-TR" sz="2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tr-TR" sz="18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l" fontAlgn="ctr"/>
                      <a:endParaRPr lang="tr-TR" sz="18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5655344"/>
                  </a:ext>
                </a:extLst>
              </a:tr>
              <a:tr h="516832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2400" b="1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Hora</a:t>
                      </a:r>
                      <a:endParaRPr lang="tr-TR" sz="24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2400" b="1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Program</a:t>
                      </a:r>
                      <a:r>
                        <a:rPr lang="es-ES" sz="2400" b="1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a</a:t>
                      </a:r>
                      <a:endParaRPr lang="tr-TR" sz="24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tr-TR" sz="24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31296780"/>
                  </a:ext>
                </a:extLst>
              </a:tr>
              <a:tr h="529927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2000" b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09:00 - 10:00</a:t>
                      </a:r>
                      <a:endParaRPr lang="tr-TR" sz="20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2000" b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Bienvenida y Desayuno</a:t>
                      </a:r>
                      <a:endParaRPr lang="tr-TR" sz="20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tr-TR" sz="20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345200"/>
                  </a:ext>
                </a:extLst>
              </a:tr>
              <a:tr h="529927">
                <a:tc>
                  <a:txBody>
                    <a:bodyPr/>
                    <a:lstStyle/>
                    <a:p>
                      <a:pPr marL="0" algn="ctr" fontAlgn="ctr"/>
                      <a:r>
                        <a:rPr lang="tr-TR" sz="2000" b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:00 - 10:30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2000" b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Inducción en seguridad y salud en el trabajo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2000" b="0" i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Carlos Sancho Merino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785360"/>
                  </a:ext>
                </a:extLst>
              </a:tr>
              <a:tr h="529927">
                <a:tc>
                  <a:txBody>
                    <a:bodyPr/>
                    <a:lstStyle/>
                    <a:p>
                      <a:pPr marL="0" algn="ctr" fontAlgn="ctr"/>
                      <a:r>
                        <a:rPr lang="tr-TR" sz="2000" b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:30 - 11:00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2000" b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Formar parte de Çimsa y nuestro enfoque en las personas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2000" b="0" i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Antonio Garcia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312165"/>
                  </a:ext>
                </a:extLst>
              </a:tr>
              <a:tr h="529927">
                <a:tc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2000" b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:00 - 13:00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2000" b="0" i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Proceso de producción de cemento, nuestros productos, control de calidad, I+D, CRM (visita a la fábrica)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2000" b="0" i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Alfredo, David, Jose Carlos etc..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32468"/>
                  </a:ext>
                </a:extLst>
              </a:tr>
              <a:tr h="529927">
                <a:tc>
                  <a:txBody>
                    <a:bodyPr/>
                    <a:lstStyle/>
                    <a:p>
                      <a:pPr marL="0" algn="ctr" fontAlgn="ctr"/>
                      <a:r>
                        <a:rPr lang="tr-TR" sz="2000" b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:00 - 14:00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2000" b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Comida</a:t>
                      </a:r>
                      <a:endParaRPr lang="tr-TR" sz="20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2000" b="0" i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248496"/>
                  </a:ext>
                </a:extLst>
              </a:tr>
              <a:tr h="529927">
                <a:tc>
                  <a:txBody>
                    <a:bodyPr/>
                    <a:lstStyle/>
                    <a:p>
                      <a:pPr marL="0" algn="ctr" fontAlgn="ctr"/>
                      <a:r>
                        <a:rPr lang="tr-TR" sz="2000" b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:00 - 14:30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2000" b="0" i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Conversaciones con nuestras mujeres líderes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2000" b="0" i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Başak Büyükdoğanay, Montserrat Martin, Eva Nieto, Ana Do</a:t>
                      </a:r>
                      <a:r>
                        <a:rPr lang="es-ES" sz="2000" b="0" i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ñ</a:t>
                      </a:r>
                      <a:r>
                        <a:rPr lang="tr-TR" sz="2000" b="0" i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ate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906679"/>
                  </a:ext>
                </a:extLst>
              </a:tr>
              <a:tr h="529927">
                <a:tc>
                  <a:txBody>
                    <a:bodyPr/>
                    <a:lstStyle/>
                    <a:p>
                      <a:pPr marL="0" algn="ctr" fontAlgn="ctr"/>
                      <a:r>
                        <a:rPr lang="tr-TR" sz="2000" b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:30 - 15:00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2000" b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Cierre del programa y certificados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tr-TR" sz="20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0547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82380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BE3635-6E24-A216-61F3-25A5799460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F0B1D29A-CDC5-16B7-0668-2EA6B27C1D8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22650" y="4051031"/>
            <a:ext cx="13563601" cy="1603644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9600" dirty="0">
                <a:latin typeface="+mn-lt"/>
              </a:rPr>
              <a:t>Gracias</a:t>
            </a:r>
            <a:endParaRPr lang="tr-TR" sz="96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706D0B7-A5FB-948E-5500-2FCEF178F279}"/>
              </a:ext>
            </a:extLst>
          </p:cNvPr>
          <p:cNvSpPr/>
          <p:nvPr/>
        </p:nvSpPr>
        <p:spPr>
          <a:xfrm>
            <a:off x="15784257" y="8093075"/>
            <a:ext cx="4319844" cy="3216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pic>
        <p:nvPicPr>
          <p:cNvPr id="3" name="Picture 2" descr="A blue and white logo&#10;&#10;Description automatically generated">
            <a:extLst>
              <a:ext uri="{FF2B5EF4-FFF2-40B4-BE49-F238E27FC236}">
                <a16:creationId xmlns:a16="http://schemas.microsoft.com/office/drawing/2014/main" id="{563B5A44-417D-27FE-D17C-EF617FE3FE7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8135" y="9677758"/>
            <a:ext cx="3435965" cy="1461526"/>
          </a:xfrm>
          <a:prstGeom prst="rect">
            <a:avLst/>
          </a:prstGeom>
        </p:spPr>
      </p:pic>
      <p:pic>
        <p:nvPicPr>
          <p:cNvPr id="6" name="Resim 5">
            <a:extLst>
              <a:ext uri="{FF2B5EF4-FFF2-40B4-BE49-F238E27FC236}">
                <a16:creationId xmlns:a16="http://schemas.microsoft.com/office/drawing/2014/main" id="{84BB8FA0-24EA-BB0F-187D-29EEC6B405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4875" y="5654675"/>
            <a:ext cx="13223260" cy="126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754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7rqhqD6tM5WAo0n0zc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anZbllTWH18KWDUkAq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rcelik Grid 16:9">
  <a:themeElements>
    <a:clrScheme name="Arcelik">
      <a:dk1>
        <a:srgbClr val="000000"/>
      </a:dk1>
      <a:lt1>
        <a:sysClr val="window" lastClr="FFFFFF"/>
      </a:lt1>
      <a:dk2>
        <a:srgbClr val="C00000"/>
      </a:dk2>
      <a:lt2>
        <a:srgbClr val="F2F2F2"/>
      </a:lt2>
      <a:accent1>
        <a:srgbClr val="3E0000"/>
      </a:accent1>
      <a:accent2>
        <a:srgbClr val="8A0000"/>
      </a:accent2>
      <a:accent3>
        <a:srgbClr val="FFFF00"/>
      </a:accent3>
      <a:accent4>
        <a:srgbClr val="FF7D7D"/>
      </a:accent4>
      <a:accent5>
        <a:srgbClr val="AFABAB"/>
      </a:accent5>
      <a:accent6>
        <a:srgbClr val="203440"/>
      </a:accent6>
      <a:hlink>
        <a:srgbClr val="7FBDE5"/>
      </a:hlink>
      <a:folHlink>
        <a:srgbClr val="7FBDE5"/>
      </a:folHlink>
    </a:clrScheme>
    <a:fontScheme name="Arcelik (Pastel_colors)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96</TotalTime>
  <Words>146</Words>
  <Application>Microsoft Office PowerPoint</Application>
  <PresentationFormat>Personalizado</PresentationFormat>
  <Paragraphs>30</Paragraphs>
  <Slides>3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11" baseType="lpstr">
      <vt:lpstr>Arial</vt:lpstr>
      <vt:lpstr>Calibri</vt:lpstr>
      <vt:lpstr>Montserrat</vt:lpstr>
      <vt:lpstr>Titillium</vt:lpstr>
      <vt:lpstr>Trebuchet MS</vt:lpstr>
      <vt:lpstr>Office Theme</vt:lpstr>
      <vt:lpstr>Arcelik Grid 16:9</vt:lpstr>
      <vt:lpstr>think-cell Slide</vt:lpstr>
      <vt:lpstr>Un Día en Çimsa &amp; Con Mujeres Ingenieras </vt:lpstr>
      <vt:lpstr>Presentación de PowerPoint</vt:lpstr>
      <vt:lpstr>Graci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̧imsa İK Aday Yönetimi Destek Rehberi Tasarımı</dc:title>
  <dc:creator>EBRU GED</dc:creator>
  <cp:lastModifiedBy>Antonio Garcia Marzo</cp:lastModifiedBy>
  <cp:revision>287</cp:revision>
  <dcterms:created xsi:type="dcterms:W3CDTF">2024-07-31T10:46:49Z</dcterms:created>
  <dcterms:modified xsi:type="dcterms:W3CDTF">2025-11-20T07:4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4-07-31T00:00:00Z</vt:filetime>
  </property>
  <property fmtid="{D5CDD505-2E9C-101B-9397-08002B2CF9AE}" pid="3" name="Creator">
    <vt:lpwstr>Adobe Illustrator 28.5 (Macintosh)</vt:lpwstr>
  </property>
  <property fmtid="{D5CDD505-2E9C-101B-9397-08002B2CF9AE}" pid="4" name="LastSaved">
    <vt:filetime>2024-07-31T00:00:00Z</vt:filetime>
  </property>
  <property fmtid="{D5CDD505-2E9C-101B-9397-08002B2CF9AE}" pid="5" name="Producer">
    <vt:lpwstr>Adobe PDF library 17.00</vt:lpwstr>
  </property>
  <property fmtid="{D5CDD505-2E9C-101B-9397-08002B2CF9AE}" pid="6" name="MSIP_Label_43184fb2-386a-4647-9f82-bc098daf8ccf_Enabled">
    <vt:lpwstr>true</vt:lpwstr>
  </property>
  <property fmtid="{D5CDD505-2E9C-101B-9397-08002B2CF9AE}" pid="7" name="MSIP_Label_43184fb2-386a-4647-9f82-bc098daf8ccf_SetDate">
    <vt:lpwstr>2024-08-01T11:16:55Z</vt:lpwstr>
  </property>
  <property fmtid="{D5CDD505-2E9C-101B-9397-08002B2CF9AE}" pid="8" name="MSIP_Label_43184fb2-386a-4647-9f82-bc098daf8ccf_Method">
    <vt:lpwstr>Standard</vt:lpwstr>
  </property>
  <property fmtid="{D5CDD505-2E9C-101B-9397-08002B2CF9AE}" pid="9" name="MSIP_Label_43184fb2-386a-4647-9f82-bc098daf8ccf_Name">
    <vt:lpwstr>Halka Açık -Public</vt:lpwstr>
  </property>
  <property fmtid="{D5CDD505-2E9C-101B-9397-08002B2CF9AE}" pid="10" name="MSIP_Label_43184fb2-386a-4647-9f82-bc098daf8ccf_SiteId">
    <vt:lpwstr>0963c99c-9e0a-451d-977b-ba1e1cf94564</vt:lpwstr>
  </property>
  <property fmtid="{D5CDD505-2E9C-101B-9397-08002B2CF9AE}" pid="11" name="MSIP_Label_43184fb2-386a-4647-9f82-bc098daf8ccf_ActionId">
    <vt:lpwstr>fbae9b28-4ea2-4e24-83a6-4a230777d269</vt:lpwstr>
  </property>
  <property fmtid="{D5CDD505-2E9C-101B-9397-08002B2CF9AE}" pid="12" name="MSIP_Label_43184fb2-386a-4647-9f82-bc098daf8ccf_ContentBits">
    <vt:lpwstr>0</vt:lpwstr>
  </property>
</Properties>
</file>